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media/image20.bin" ContentType="image/jpeg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media/image36.jpg" ContentType="image/jpg"/>
  <Override PartName="/ppt/media/image37.jpg" ContentType="image/jpg"/>
  <Override PartName="/ppt/media/image38.jpg" ContentType="image/jpg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0" r:id="rId5"/>
  </p:sldMasterIdLst>
  <p:notesMasterIdLst>
    <p:notesMasterId r:id="rId31"/>
  </p:notesMasterIdLst>
  <p:sldIdLst>
    <p:sldId id="256" r:id="rId6"/>
    <p:sldId id="257" r:id="rId7"/>
    <p:sldId id="261" r:id="rId8"/>
    <p:sldId id="270" r:id="rId9"/>
    <p:sldId id="282" r:id="rId10"/>
    <p:sldId id="2147377599" r:id="rId11"/>
    <p:sldId id="2147377600" r:id="rId12"/>
    <p:sldId id="258" r:id="rId13"/>
    <p:sldId id="266" r:id="rId14"/>
    <p:sldId id="2147377590" r:id="rId15"/>
    <p:sldId id="2147377588" r:id="rId16"/>
    <p:sldId id="2147377593" r:id="rId17"/>
    <p:sldId id="2147377597" r:id="rId18"/>
    <p:sldId id="2147377595" r:id="rId19"/>
    <p:sldId id="2147377596" r:id="rId20"/>
    <p:sldId id="262" r:id="rId21"/>
    <p:sldId id="2147377604" r:id="rId22"/>
    <p:sldId id="281" r:id="rId23"/>
    <p:sldId id="2147377605" r:id="rId24"/>
    <p:sldId id="283" r:id="rId25"/>
    <p:sldId id="284" r:id="rId26"/>
    <p:sldId id="286" r:id="rId27"/>
    <p:sldId id="287" r:id="rId28"/>
    <p:sldId id="2147377603" r:id="rId29"/>
    <p:sldId id="2147377592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ADAC3A6-7803-4E29-985B-2EE5BA44F6A8}">
          <p14:sldIdLst>
            <p14:sldId id="256"/>
            <p14:sldId id="257"/>
            <p14:sldId id="261"/>
            <p14:sldId id="270"/>
            <p14:sldId id="282"/>
            <p14:sldId id="2147377599"/>
            <p14:sldId id="2147377600"/>
            <p14:sldId id="258"/>
            <p14:sldId id="266"/>
            <p14:sldId id="2147377590"/>
            <p14:sldId id="2147377588"/>
            <p14:sldId id="2147377593"/>
            <p14:sldId id="2147377597"/>
            <p14:sldId id="2147377595"/>
            <p14:sldId id="2147377596"/>
            <p14:sldId id="262"/>
            <p14:sldId id="2147377604"/>
            <p14:sldId id="281"/>
            <p14:sldId id="2147377605"/>
            <p14:sldId id="283"/>
            <p14:sldId id="284"/>
            <p14:sldId id="286"/>
            <p14:sldId id="287"/>
            <p14:sldId id="2147377603"/>
            <p14:sldId id="21473775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D18AE7-1924-0F2F-AD6C-61C68992A54B}" name="Kathrin Decker" initials="KD" userId="S::Kathrin@spp.earth::b990151d-dbfb-4537-baaf-f3341b4d06f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3C6"/>
    <a:srgbClr val="3C3C3C"/>
    <a:srgbClr val="F79E02"/>
    <a:srgbClr val="3E8C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BAFD2F-090F-4A3B-A47E-743FE4B90E3B}" v="417" dt="2026-03-21T20:25:04.623"/>
    <p1510:client id="{DCCFA62B-3FAF-49B5-B894-2B0F8AAF5DB0}" v="5" dt="2026-03-22T08:24:47.39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5158" autoAdjust="0"/>
  </p:normalViewPr>
  <p:slideViewPr>
    <p:cSldViewPr snapToGrid="0">
      <p:cViewPr varScale="1">
        <p:scale>
          <a:sx n="52" d="100"/>
          <a:sy n="52" d="100"/>
        </p:scale>
        <p:origin x="20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37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E358D9-66FD-4899-80B7-05E32ED63998}" type="datetimeFigureOut">
              <a:rPr lang="en-US" smtClean="0"/>
              <a:t>3/25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40E435-553A-44A5-BF2B-954422B1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779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[Sources]
- Content structure and labels adapted from the user-provided concept image: /mnt/data/556968de-ec53-4371-971e-36378d6ffa74.png
- Branding assets reused from the user-provided working deck: /mnt/data/WSPD_AI_Procurement_Opening_Slides.pptx (extracted media image-1-1.png and image-1-2.png)
- Narrative language synthesised from the user brief in this cha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1E9749-C673-4BC1-ABD1-56BC29B7C79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162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[Sources]
- Content structure adapted from the user-provided concept image: /mnt/data/adee0f34-c79b-47f2-91c4-5b3c85914f3b.png
- Vendor examples and layer definitions synthesised from the user brief in this chat.
- Branding assets reused from the user-provided working deck: /mnt/data/WSPD_AI_Procurement_Opening_Slides.pptx (extracted media image-1-1.png and image-1-2.png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[Sources]
- Slide narrative adapted from the user brief in this chat and from the prior working deck /mnt/data/WSPD_AI_Procurement_Opening_Slides.pptx.
- Branding, photo and icon assets reused from the extracted media files in /mnt/data/extract_current/ppt/media (image-1-1.png, image-1-2.png, image-3-3.jpg, image-3-4.png to image-3-10.jpg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asic Vendor Scoring: limited criter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anual due diligence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active Compliance Monitoring: based on threshol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lligent Vendor Managemen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Real‑time ESG scoring to support informed sourcing decisions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active Risk Mitigation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Early identification and management of risks based on leading indicators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ulatory Complianc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Ongoing alignment with applicable ESG and supply‑chain legislation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bedded Sustainability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Practical, hands‑on ESG insights integrated into daily workflows for category managers and buy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 augments procurement, not replaces i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—so teams must shift from transactional execution to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ight-driven, strategic role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40E435-553A-44A5-BF2B-954422B1362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3990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ster Data: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ity resolution &amp; data, Find past names, parents. Online footprint: Find websites, Context and risk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d industries, loc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40E435-553A-44A5-BF2B-954422B1362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8204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ts val="1292"/>
              </a:lnSpc>
              <a:buSzPct val="100000"/>
              <a:buNone/>
            </a:pPr>
            <a:r>
              <a:rPr lang="en-US" dirty="0"/>
              <a:t>1. </a:t>
            </a:r>
            <a:r>
              <a:rPr lang="en-US" sz="1200" dirty="0">
                <a:solidFill>
                  <a:srgbClr val="FBF7F6"/>
                </a:solidFill>
                <a:latin typeface="Open Sans" pitchFamily="34" charset="0"/>
                <a:ea typeface="Open Sans" pitchFamily="34" charset="-122"/>
                <a:cs typeface="Open Sans" pitchFamily="34" charset="-120"/>
              </a:rPr>
              <a:t>Customizable ratings to fit your needs</a:t>
            </a:r>
            <a:endParaRPr lang="en-US" sz="1200" dirty="0"/>
          </a:p>
          <a:p>
            <a:pPr marL="285739" indent="-285739">
              <a:lnSpc>
                <a:spcPts val="1292"/>
              </a:lnSpc>
              <a:buSzPct val="100000"/>
              <a:buChar char="•"/>
            </a:pPr>
            <a:r>
              <a:rPr lang="en-US" sz="1200" dirty="0">
                <a:solidFill>
                  <a:srgbClr val="FBF7F6"/>
                </a:solidFill>
                <a:latin typeface="Open Sans" pitchFamily="34" charset="0"/>
                <a:ea typeface="Open Sans" pitchFamily="34" charset="-122"/>
                <a:cs typeface="Open Sans" pitchFamily="34" charset="-120"/>
              </a:rPr>
              <a:t>Rich details behind scores; navigate down to the raw data to build credibility</a:t>
            </a:r>
            <a:endParaRPr lang="en-US" sz="1200" dirty="0"/>
          </a:p>
          <a:p>
            <a:pPr marL="285739" indent="-285739">
              <a:lnSpc>
                <a:spcPts val="1292"/>
              </a:lnSpc>
              <a:buSzPct val="100000"/>
              <a:buChar char="•"/>
            </a:pPr>
            <a:r>
              <a:rPr lang="en-US" sz="1200" dirty="0">
                <a:solidFill>
                  <a:srgbClr val="FBF7F6"/>
                </a:solidFill>
                <a:latin typeface="Open Sans" pitchFamily="34" charset="0"/>
                <a:ea typeface="Open Sans" pitchFamily="34" charset="-122"/>
                <a:cs typeface="Open Sans" pitchFamily="34" charset="-120"/>
              </a:rPr>
              <a:t>Any information, positive or negative, automatically gets analyzed and contributes to the performance profile of the supplier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40E435-553A-44A5-BF2B-954422B1362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3949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st </a:t>
            </a:r>
            <a:r>
              <a:rPr lang="en-US" dirty="0" err="1"/>
              <a:t>Effiiciency</a:t>
            </a:r>
            <a:r>
              <a:rPr lang="en-US" dirty="0"/>
              <a:t>, Spend Sustainable, </a:t>
            </a:r>
            <a:r>
              <a:rPr lang="en-US" dirty="0" err="1"/>
              <a:t>EasyAccess</a:t>
            </a:r>
            <a:r>
              <a:rPr lang="en-US" dirty="0"/>
              <a:t> via Teams, User friendly, Support Compliance</a:t>
            </a:r>
          </a:p>
          <a:p>
            <a:r>
              <a:rPr lang="en-US" dirty="0"/>
              <a:t>Eco label searches possi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40E435-553A-44A5-BF2B-954422B1362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0186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ed Process Quality, Consistency</a:t>
            </a:r>
          </a:p>
          <a:p>
            <a:r>
              <a:rPr lang="en-US" dirty="0"/>
              <a:t>Move focus of procurement employees from data retrieval to value creation</a:t>
            </a:r>
          </a:p>
          <a:p>
            <a:r>
              <a:rPr lang="en-US" dirty="0"/>
              <a:t>Call out to the Indirect- team </a:t>
            </a:r>
            <a:r>
              <a:rPr lang="en-US" dirty="0" err="1"/>
              <a:t>softwares</a:t>
            </a:r>
            <a:r>
              <a:rPr lang="en-US" dirty="0"/>
              <a:t>, cleaning products etc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40E435-553A-44A5-BF2B-954422B1362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4741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1E9749-C673-4BC1-ABD1-56BC29B7C79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630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bin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hyperlink" Target="https://spp.earth/netiquette/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bin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bin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17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bin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63;p13">
            <a:extLst>
              <a:ext uri="{FF2B5EF4-FFF2-40B4-BE49-F238E27FC236}">
                <a16:creationId xmlns:a16="http://schemas.microsoft.com/office/drawing/2014/main" id="{1B798504-3B64-B772-8D88-719C99E748FB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25211"/>
          <a:stretch/>
        </p:blipFill>
        <p:spPr>
          <a:xfrm>
            <a:off x="0" y="-3"/>
            <a:ext cx="9144003" cy="7379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59;p13">
            <a:extLst>
              <a:ext uri="{FF2B5EF4-FFF2-40B4-BE49-F238E27FC236}">
                <a16:creationId xmlns:a16="http://schemas.microsoft.com/office/drawing/2014/main" id="{EB6B1E4A-B87A-1CD7-789D-4EEC3F897D6E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1978849" y="1700700"/>
            <a:ext cx="7801500" cy="1730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>
              <a:defRPr/>
            </a:lvl1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ITLE</a:t>
            </a:r>
          </a:p>
        </p:txBody>
      </p:sp>
      <p:pic>
        <p:nvPicPr>
          <p:cNvPr id="4" name="Picture 3" descr="A close-up of words&#10;&#10;AI-generated content may be incorrect.">
            <a:extLst>
              <a:ext uri="{FF2B5EF4-FFF2-40B4-BE49-F238E27FC236}">
                <a16:creationId xmlns:a16="http://schemas.microsoft.com/office/drawing/2014/main" id="{A29B4A2D-8E3E-351B-D73A-C9542C1103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r="2788"/>
          <a:stretch>
            <a:fillRect/>
          </a:stretch>
        </p:blipFill>
        <p:spPr>
          <a:xfrm>
            <a:off x="8943975" y="83591"/>
            <a:ext cx="2952000" cy="73176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FF1BEAD-2081-E33B-97A1-387E4D428185}"/>
              </a:ext>
            </a:extLst>
          </p:cNvPr>
          <p:cNvSpPr txBox="1"/>
          <p:nvPr userDrawn="1"/>
        </p:nvSpPr>
        <p:spPr>
          <a:xfrm>
            <a:off x="257175" y="6382821"/>
            <a:ext cx="1876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#ActionOverNoi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342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86;p16">
            <a:extLst>
              <a:ext uri="{FF2B5EF4-FFF2-40B4-BE49-F238E27FC236}">
                <a16:creationId xmlns:a16="http://schemas.microsoft.com/office/drawing/2014/main" id="{25BE682B-6C23-5408-6FC4-7B6DC3939DD1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342900" y="1273875"/>
            <a:ext cx="7172325" cy="2729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>
              <a:defRPr/>
            </a:lvl1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[INSERT SESSION TITLE]</a:t>
            </a:r>
            <a:br>
              <a:rPr lang="en-GB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3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[INSERT SUB TITLE]</a:t>
            </a:r>
          </a:p>
        </p:txBody>
      </p:sp>
      <p:pic>
        <p:nvPicPr>
          <p:cNvPr id="2" name="Google Shape;112;p19">
            <a:extLst>
              <a:ext uri="{FF2B5EF4-FFF2-40B4-BE49-F238E27FC236}">
                <a16:creationId xmlns:a16="http://schemas.microsoft.com/office/drawing/2014/main" id="{BA37976C-0DA6-FD2E-D253-E96BDCEFCF43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l="46717" t="9523" b="8870"/>
          <a:stretch/>
        </p:blipFill>
        <p:spPr>
          <a:xfrm rot="10800000">
            <a:off x="7515224" y="-1"/>
            <a:ext cx="4676775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A close-up of words&#10;&#10;AI-generated content may be incorrect.">
            <a:extLst>
              <a:ext uri="{FF2B5EF4-FFF2-40B4-BE49-F238E27FC236}">
                <a16:creationId xmlns:a16="http://schemas.microsoft.com/office/drawing/2014/main" id="{9E4CC31B-494B-7738-C399-1F8E03F7E3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r="2788"/>
          <a:stretch>
            <a:fillRect/>
          </a:stretch>
        </p:blipFill>
        <p:spPr>
          <a:xfrm>
            <a:off x="342900" y="74066"/>
            <a:ext cx="2952000" cy="73176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A33BEF6-101E-1776-20AA-9C1DDE5450A4}"/>
              </a:ext>
            </a:extLst>
          </p:cNvPr>
          <p:cNvSpPr txBox="1"/>
          <p:nvPr userDrawn="1"/>
        </p:nvSpPr>
        <p:spPr>
          <a:xfrm>
            <a:off x="257175" y="6382821"/>
            <a:ext cx="1876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#ActionOverNoi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543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lide Title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43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1" y="1186482"/>
            <a:ext cx="10985500" cy="467391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1pPr>
          </a:lstStyle>
          <a:p>
            <a:r>
              <a:t>Slide Subtitle</a:t>
            </a:r>
          </a:p>
        </p:txBody>
      </p:sp>
      <p:sp>
        <p:nvSpPr>
          <p:cNvPr id="44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00756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x content - Fern">
    <p:bg>
      <p:bgPr>
        <a:solidFill>
          <a:srgbClr val="F2FF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D8A9E-9638-C71F-CB8F-4E16DB0C6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7363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F8D94-A388-46C3-0C48-D76A83B61F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173630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F51E3-AC28-6182-0248-C07BD511F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73630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0D5198A-3800-D0B3-184A-F7D437A2F4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313" y="1808163"/>
            <a:ext cx="5513387" cy="4186238"/>
          </a:xfrm>
        </p:spPr>
        <p:txBody>
          <a:bodyPr/>
          <a:lstStyle>
            <a:lvl1pPr>
              <a:defRPr>
                <a:solidFill>
                  <a:srgbClr val="173630"/>
                </a:solidFill>
              </a:defRPr>
            </a:lvl1pPr>
            <a:lvl2pPr>
              <a:defRPr>
                <a:solidFill>
                  <a:srgbClr val="173630"/>
                </a:solidFill>
              </a:defRPr>
            </a:lvl2pPr>
            <a:lvl3pPr>
              <a:defRPr>
                <a:solidFill>
                  <a:srgbClr val="173630"/>
                </a:solidFill>
              </a:defRPr>
            </a:lvl3pPr>
            <a:lvl4pPr>
              <a:defRPr>
                <a:solidFill>
                  <a:srgbClr val="173630"/>
                </a:solidFill>
              </a:defRPr>
            </a:lvl4pPr>
            <a:lvl5pPr>
              <a:defRPr>
                <a:solidFill>
                  <a:srgbClr val="17363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75177972-E5EA-DC88-1410-152E9CC757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21413" y="1808163"/>
            <a:ext cx="5513387" cy="4186238"/>
          </a:xfrm>
        </p:spPr>
        <p:txBody>
          <a:bodyPr/>
          <a:lstStyle>
            <a:lvl1pPr>
              <a:defRPr>
                <a:solidFill>
                  <a:srgbClr val="173630"/>
                </a:solidFill>
              </a:defRPr>
            </a:lvl1pPr>
            <a:lvl2pPr>
              <a:defRPr>
                <a:solidFill>
                  <a:srgbClr val="173630"/>
                </a:solidFill>
              </a:defRPr>
            </a:lvl2pPr>
            <a:lvl3pPr>
              <a:defRPr>
                <a:solidFill>
                  <a:srgbClr val="173630"/>
                </a:solidFill>
              </a:defRPr>
            </a:lvl3pPr>
            <a:lvl4pPr>
              <a:defRPr>
                <a:solidFill>
                  <a:srgbClr val="173630"/>
                </a:solidFill>
              </a:defRPr>
            </a:lvl4pPr>
            <a:lvl5pPr>
              <a:defRPr>
                <a:solidFill>
                  <a:srgbClr val="17363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3668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56206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Juniper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ED173A93-6BB3-F99C-257D-AD7A5DA2DC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D9246314-1987-6C6F-070B-9D7AA977EA7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5A212EA-E1E4-CFAE-D306-38EE9B4C79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47200" y="460370"/>
            <a:ext cx="1276769" cy="16172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8599A31-BDD5-7171-AFEA-24710CE453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800" y="1944000"/>
            <a:ext cx="7681913" cy="1846659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7500">
                <a:solidFill>
                  <a:srgbClr val="A1B0FF"/>
                </a:solidFill>
              </a:defRPr>
            </a:lvl1pPr>
          </a:lstStyle>
          <a:p>
            <a:r>
              <a:rPr lang="en-US" dirty="0"/>
              <a:t>Click to add title, max three lines</a:t>
            </a:r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6A381BF0-6236-834C-282A-65E70E8776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6725" y="5800442"/>
            <a:ext cx="5514975" cy="609600"/>
          </a:xfrm>
        </p:spPr>
        <p:txBody>
          <a:bodyPr anchor="b" anchorCtr="0"/>
          <a:lstStyle>
            <a:lvl1pPr marL="0" indent="0">
              <a:buFont typeface="Rale Body" pitchFamily="2" charset="0"/>
              <a:buNone/>
              <a:defRPr sz="1800">
                <a:solidFill>
                  <a:srgbClr val="EFF1FF"/>
                </a:solidFill>
              </a:defRPr>
            </a:lvl1pPr>
            <a:lvl2pPr marL="216000">
              <a:defRPr sz="1800">
                <a:solidFill>
                  <a:srgbClr val="EFF1FF"/>
                </a:solidFill>
              </a:defRPr>
            </a:lvl2pPr>
            <a:lvl3pPr marL="432000">
              <a:defRPr sz="1800">
                <a:solidFill>
                  <a:srgbClr val="EFF1FF"/>
                </a:solidFill>
              </a:defRPr>
            </a:lvl3pPr>
            <a:lvl4pPr marL="648000">
              <a:defRPr sz="1800">
                <a:solidFill>
                  <a:srgbClr val="EFF1FF"/>
                </a:solidFill>
              </a:defRPr>
            </a:lvl4pPr>
            <a:lvl5pPr marL="864000">
              <a:defRPr sz="1800"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insert subtitle</a:t>
            </a:r>
          </a:p>
        </p:txBody>
      </p:sp>
      <p:sp>
        <p:nvSpPr>
          <p:cNvPr id="3" name="Body Pkt 11">
            <a:extLst>
              <a:ext uri="{FF2B5EF4-FFF2-40B4-BE49-F238E27FC236}">
                <a16:creationId xmlns:a16="http://schemas.microsoft.com/office/drawing/2014/main" id="{DE911BAF-FBA9-CB4E-5236-B718DE51CCF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8000" y="457200"/>
            <a:ext cx="2869200" cy="140400"/>
          </a:xfrm>
        </p:spPr>
        <p:txBody>
          <a:bodyPr/>
          <a:lstStyle>
            <a:lvl1pPr marL="0" indent="0">
              <a:buFont typeface="Rale Body" pitchFamily="2" charset="0"/>
              <a:buNone/>
              <a:defRPr sz="1100">
                <a:solidFill>
                  <a:srgbClr val="EFF1FF"/>
                </a:solidFill>
              </a:defRPr>
            </a:lvl1pPr>
            <a:lvl2pPr marL="108000" indent="-108000">
              <a:defRPr sz="1100">
                <a:solidFill>
                  <a:srgbClr val="EFF1FF"/>
                </a:solidFill>
              </a:defRPr>
            </a:lvl2pPr>
            <a:lvl3pPr marL="216000" indent="-108000">
              <a:defRPr sz="1100">
                <a:solidFill>
                  <a:srgbClr val="EFF1FF"/>
                </a:solidFill>
              </a:defRPr>
            </a:lvl3pPr>
            <a:lvl4pPr marL="324000" indent="-108000">
              <a:defRPr sz="1100">
                <a:solidFill>
                  <a:srgbClr val="EFF1FF"/>
                </a:solidFill>
              </a:defRPr>
            </a:lvl4pPr>
            <a:lvl5pPr marL="432000" indent="-108000">
              <a:defRPr sz="1100"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add date  |  name</a:t>
            </a:r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6990994F-88A4-02B7-041E-7CD76A40AA6A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88005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Shape - Juniper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ED173A93-6BB3-F99C-257D-AD7A5DA2DC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D9246314-1987-6C6F-070B-9D7AA977EA7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5A212EA-E1E4-CFAE-D306-38EE9B4C79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47200" y="460370"/>
            <a:ext cx="1276769" cy="16172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8599A31-BDD5-7171-AFEA-24710CE453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800" y="1944000"/>
            <a:ext cx="7681913" cy="1846659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7500">
                <a:solidFill>
                  <a:srgbClr val="A1B0FF"/>
                </a:solidFill>
              </a:defRPr>
            </a:lvl1pPr>
          </a:lstStyle>
          <a:p>
            <a:r>
              <a:rPr lang="en-US" dirty="0"/>
              <a:t>Click to add title, max three lines</a:t>
            </a:r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6A381BF0-6236-834C-282A-65E70E8776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6725" y="5800442"/>
            <a:ext cx="5514975" cy="609600"/>
          </a:xfrm>
        </p:spPr>
        <p:txBody>
          <a:bodyPr anchor="b" anchorCtr="0"/>
          <a:lstStyle>
            <a:lvl1pPr marL="0" indent="0">
              <a:buFont typeface="Rale Body" pitchFamily="2" charset="0"/>
              <a:buNone/>
              <a:defRPr sz="1800">
                <a:solidFill>
                  <a:srgbClr val="EFF1FF"/>
                </a:solidFill>
              </a:defRPr>
            </a:lvl1pPr>
            <a:lvl2pPr marL="216000">
              <a:defRPr sz="1800">
                <a:solidFill>
                  <a:srgbClr val="EFF1FF"/>
                </a:solidFill>
              </a:defRPr>
            </a:lvl2pPr>
            <a:lvl3pPr marL="432000">
              <a:defRPr sz="1800">
                <a:solidFill>
                  <a:srgbClr val="EFF1FF"/>
                </a:solidFill>
              </a:defRPr>
            </a:lvl3pPr>
            <a:lvl4pPr marL="648000">
              <a:defRPr sz="1800">
                <a:solidFill>
                  <a:srgbClr val="EFF1FF"/>
                </a:solidFill>
              </a:defRPr>
            </a:lvl4pPr>
            <a:lvl5pPr marL="864000">
              <a:defRPr sz="1800"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insert subtitle</a:t>
            </a:r>
          </a:p>
        </p:txBody>
      </p:sp>
      <p:sp>
        <p:nvSpPr>
          <p:cNvPr id="3" name="Body Pkt 11">
            <a:extLst>
              <a:ext uri="{FF2B5EF4-FFF2-40B4-BE49-F238E27FC236}">
                <a16:creationId xmlns:a16="http://schemas.microsoft.com/office/drawing/2014/main" id="{DE911BAF-FBA9-CB4E-5236-B718DE51CCF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8000" y="457200"/>
            <a:ext cx="2869200" cy="140400"/>
          </a:xfrm>
        </p:spPr>
        <p:txBody>
          <a:bodyPr/>
          <a:lstStyle>
            <a:lvl1pPr marL="0" indent="0">
              <a:buFont typeface="Rale Body" pitchFamily="2" charset="0"/>
              <a:buNone/>
              <a:defRPr sz="1100">
                <a:solidFill>
                  <a:srgbClr val="EFF1FF"/>
                </a:solidFill>
              </a:defRPr>
            </a:lvl1pPr>
            <a:lvl2pPr marL="108000" indent="-108000">
              <a:defRPr sz="1100">
                <a:solidFill>
                  <a:srgbClr val="EFF1FF"/>
                </a:solidFill>
              </a:defRPr>
            </a:lvl2pPr>
            <a:lvl3pPr marL="216000" indent="-108000">
              <a:defRPr sz="1100">
                <a:solidFill>
                  <a:srgbClr val="EFF1FF"/>
                </a:solidFill>
              </a:defRPr>
            </a:lvl3pPr>
            <a:lvl4pPr marL="324000" indent="-108000">
              <a:defRPr sz="1100">
                <a:solidFill>
                  <a:srgbClr val="EFF1FF"/>
                </a:solidFill>
              </a:defRPr>
            </a:lvl4pPr>
            <a:lvl5pPr marL="432000" indent="-108000">
              <a:defRPr sz="1100"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add date  |  nam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7DDB72F-DF08-88BB-C6D2-56CD778935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73754" y="-10720"/>
            <a:ext cx="3120629" cy="6878120"/>
          </a:xfrm>
          <a:prstGeom prst="rect">
            <a:avLst/>
          </a:prstGeom>
        </p:spPr>
      </p:pic>
      <p:sp>
        <p:nvSpPr>
          <p:cNvPr id="4" name="Copyright">
            <a:extLst>
              <a:ext uri="{FF2B5EF4-FFF2-40B4-BE49-F238E27FC236}">
                <a16:creationId xmlns:a16="http://schemas.microsoft.com/office/drawing/2014/main" id="{BBB541C7-5424-8ABD-CB1D-359D0C95E51E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2602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Flux - Blue">
    <p:bg>
      <p:bgPr>
        <a:solidFill>
          <a:srgbClr val="1736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B0A2829-2A0A-960F-74E6-145A2A3934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ED173A93-6BB3-F99C-257D-AD7A5DA2DC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D9246314-1987-6C6F-070B-9D7AA977EA7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5A212EA-E1E4-CFAE-D306-38EE9B4C79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47200" y="460370"/>
            <a:ext cx="1276769" cy="16172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8599A31-BDD5-7171-AFEA-24710CE453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800" y="1944000"/>
            <a:ext cx="7681913" cy="1846659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7500">
                <a:solidFill>
                  <a:srgbClr val="263140"/>
                </a:solidFill>
              </a:defRPr>
            </a:lvl1pPr>
          </a:lstStyle>
          <a:p>
            <a:r>
              <a:rPr lang="en-US" dirty="0"/>
              <a:t>Click to add title, max three lines</a:t>
            </a:r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6A381BF0-6236-834C-282A-65E70E8776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6725" y="5800442"/>
            <a:ext cx="5514975" cy="609600"/>
          </a:xfrm>
        </p:spPr>
        <p:txBody>
          <a:bodyPr anchor="b" anchorCtr="0"/>
          <a:lstStyle>
            <a:lvl1pPr marL="0" indent="0">
              <a:buFont typeface="Rale Body" pitchFamily="2" charset="0"/>
              <a:buNone/>
              <a:defRPr sz="1800">
                <a:solidFill>
                  <a:srgbClr val="263140"/>
                </a:solidFill>
              </a:defRPr>
            </a:lvl1pPr>
            <a:lvl2pPr marL="216000">
              <a:defRPr sz="1800">
                <a:solidFill>
                  <a:srgbClr val="263140"/>
                </a:solidFill>
              </a:defRPr>
            </a:lvl2pPr>
            <a:lvl3pPr marL="432000">
              <a:defRPr sz="1800">
                <a:solidFill>
                  <a:srgbClr val="263140"/>
                </a:solidFill>
              </a:defRPr>
            </a:lvl3pPr>
            <a:lvl4pPr marL="648000">
              <a:defRPr sz="1800">
                <a:solidFill>
                  <a:srgbClr val="263140"/>
                </a:solidFill>
              </a:defRPr>
            </a:lvl4pPr>
            <a:lvl5pPr marL="864000">
              <a:defRPr sz="1800">
                <a:solidFill>
                  <a:srgbClr val="263140"/>
                </a:solidFill>
              </a:defRPr>
            </a:lvl5pPr>
          </a:lstStyle>
          <a:p>
            <a:pPr lvl="0"/>
            <a:r>
              <a:rPr lang="en-GB" dirty="0"/>
              <a:t>Click to insert subtitle</a:t>
            </a:r>
          </a:p>
        </p:txBody>
      </p:sp>
      <p:sp>
        <p:nvSpPr>
          <p:cNvPr id="3" name="Body Pkt 11">
            <a:extLst>
              <a:ext uri="{FF2B5EF4-FFF2-40B4-BE49-F238E27FC236}">
                <a16:creationId xmlns:a16="http://schemas.microsoft.com/office/drawing/2014/main" id="{DE911BAF-FBA9-CB4E-5236-B718DE51CCF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8000" y="457200"/>
            <a:ext cx="2869200" cy="140400"/>
          </a:xfrm>
        </p:spPr>
        <p:txBody>
          <a:bodyPr/>
          <a:lstStyle>
            <a:lvl1pPr marL="0" indent="0">
              <a:buFont typeface="Rale Body" pitchFamily="2" charset="0"/>
              <a:buNone/>
              <a:defRPr sz="1100">
                <a:solidFill>
                  <a:srgbClr val="263140"/>
                </a:solidFill>
              </a:defRPr>
            </a:lvl1pPr>
            <a:lvl2pPr marL="108000" indent="-108000">
              <a:defRPr sz="1100">
                <a:solidFill>
                  <a:srgbClr val="263140"/>
                </a:solidFill>
              </a:defRPr>
            </a:lvl2pPr>
            <a:lvl3pPr marL="216000" indent="-108000">
              <a:defRPr sz="1100">
                <a:solidFill>
                  <a:srgbClr val="263140"/>
                </a:solidFill>
              </a:defRPr>
            </a:lvl3pPr>
            <a:lvl4pPr marL="324000" indent="-108000">
              <a:defRPr sz="1100">
                <a:solidFill>
                  <a:srgbClr val="263140"/>
                </a:solidFill>
              </a:defRPr>
            </a:lvl4pPr>
            <a:lvl5pPr marL="432000" indent="-108000">
              <a:defRPr sz="1100">
                <a:solidFill>
                  <a:srgbClr val="263140"/>
                </a:solidFill>
              </a:defRPr>
            </a:lvl5pPr>
          </a:lstStyle>
          <a:p>
            <a:pPr lvl="0"/>
            <a:r>
              <a:rPr lang="en-GB" dirty="0"/>
              <a:t>Click to add date  |  name</a:t>
            </a:r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BC83D05D-B202-90CD-CA4D-DE9B0122F34B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263140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263140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263140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26072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Juniper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8D532EAB-4B36-5C8E-7072-CC48C01DDB7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0"/>
            <a:ext cx="6096000" cy="6858000"/>
          </a:xfrm>
          <a:solidFill>
            <a:schemeClr val="accent5"/>
          </a:solidFill>
        </p:spPr>
        <p:txBody>
          <a:bodyPr bIns="612000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GB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B17FD6E-EFA3-BAB7-24F0-7A6FF18D0BE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8000" y="1640022"/>
            <a:ext cx="5103265" cy="4354378"/>
          </a:xfrm>
        </p:spPr>
        <p:txBody>
          <a:bodyPr/>
          <a:lstStyle>
            <a:lvl1pPr marL="360000" indent="-360000">
              <a:spcBef>
                <a:spcPts val="1100"/>
              </a:spcBef>
              <a:buClr>
                <a:srgbClr val="A1B0FF"/>
              </a:buClr>
              <a:buFont typeface="+mj-lt"/>
              <a:buAutoNum type="arabicPeriod"/>
              <a:defRPr sz="2100">
                <a:solidFill>
                  <a:srgbClr val="EFF1FF"/>
                </a:solidFill>
              </a:defRPr>
            </a:lvl1pPr>
            <a:lvl2pPr marL="720000" indent="-360000">
              <a:spcBef>
                <a:spcPts val="1100"/>
              </a:spcBef>
              <a:buClr>
                <a:srgbClr val="A1B0FF"/>
              </a:buClr>
              <a:buFont typeface="+mj-lt"/>
              <a:buAutoNum type="alphaLcPeriod"/>
              <a:defRPr sz="2100">
                <a:solidFill>
                  <a:srgbClr val="EFF1FF"/>
                </a:solidFill>
              </a:defRPr>
            </a:lvl2pPr>
            <a:lvl3pPr marL="1080000" indent="-360000">
              <a:spcBef>
                <a:spcPts val="1100"/>
              </a:spcBef>
              <a:buClr>
                <a:srgbClr val="A1B0FF"/>
              </a:buClr>
              <a:buFont typeface="+mj-lt"/>
              <a:buAutoNum type="romanLcPeriod"/>
              <a:defRPr sz="2100">
                <a:solidFill>
                  <a:srgbClr val="EFF1FF"/>
                </a:solidFill>
              </a:defRPr>
            </a:lvl3pPr>
            <a:lvl4pPr marL="1440000" indent="-360000">
              <a:spcBef>
                <a:spcPts val="1100"/>
              </a:spcBef>
              <a:buClr>
                <a:srgbClr val="A1B0FF"/>
              </a:buClr>
              <a:buFont typeface="+mj-lt"/>
              <a:buAutoNum type="arabicPeriod"/>
              <a:defRPr sz="2100">
                <a:solidFill>
                  <a:srgbClr val="EFF1FF"/>
                </a:solidFill>
              </a:defRPr>
            </a:lvl4pPr>
            <a:lvl5pPr marL="1800000" indent="-360000">
              <a:spcBef>
                <a:spcPts val="1100"/>
              </a:spcBef>
              <a:buClr>
                <a:srgbClr val="A1B0FF"/>
              </a:buClr>
              <a:buFont typeface="+mj-lt"/>
              <a:buAutoNum type="alphaLcPeriod"/>
              <a:defRPr sz="2100"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B71178E8-5C1C-9508-2D13-F247DBC96C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white">
          <a:xfrm>
            <a:off x="10742400" y="6350400"/>
            <a:ext cx="982876" cy="124498"/>
          </a:xfrm>
          <a:custGeom>
            <a:avLst/>
            <a:gdLst>
              <a:gd name="connsiteX0" fmla="*/ 3880054 w 6514594"/>
              <a:gd name="connsiteY0" fmla="*/ 421753 h 823180"/>
              <a:gd name="connsiteX1" fmla="*/ 3911313 w 6514594"/>
              <a:gd name="connsiteY1" fmla="*/ 458414 h 823180"/>
              <a:gd name="connsiteX2" fmla="*/ 3911313 w 6514594"/>
              <a:gd name="connsiteY2" fmla="*/ 805825 h 823180"/>
              <a:gd name="connsiteX3" fmla="*/ 3753594 w 6514594"/>
              <a:gd name="connsiteY3" fmla="*/ 805825 h 823180"/>
              <a:gd name="connsiteX4" fmla="*/ 3753594 w 6514594"/>
              <a:gd name="connsiteY4" fmla="*/ 575965 h 823180"/>
              <a:gd name="connsiteX5" fmla="*/ 3753594 w 6514594"/>
              <a:gd name="connsiteY5" fmla="*/ 575858 h 823180"/>
              <a:gd name="connsiteX6" fmla="*/ 3760459 w 6514594"/>
              <a:gd name="connsiteY6" fmla="*/ 554352 h 823180"/>
              <a:gd name="connsiteX7" fmla="*/ 3843956 w 6514594"/>
              <a:gd name="connsiteY7" fmla="*/ 436914 h 823180"/>
              <a:gd name="connsiteX8" fmla="*/ 3863320 w 6514594"/>
              <a:gd name="connsiteY8" fmla="*/ 422761 h 823180"/>
              <a:gd name="connsiteX9" fmla="*/ 3880054 w 6514594"/>
              <a:gd name="connsiteY9" fmla="*/ 421753 h 823180"/>
              <a:gd name="connsiteX10" fmla="*/ 659546 w 6514594"/>
              <a:gd name="connsiteY10" fmla="*/ 421753 h 823180"/>
              <a:gd name="connsiteX11" fmla="*/ 690796 w 6514594"/>
              <a:gd name="connsiteY11" fmla="*/ 458414 h 823180"/>
              <a:gd name="connsiteX12" fmla="*/ 690796 w 6514594"/>
              <a:gd name="connsiteY12" fmla="*/ 805825 h 823180"/>
              <a:gd name="connsiteX13" fmla="*/ 533077 w 6514594"/>
              <a:gd name="connsiteY13" fmla="*/ 805825 h 823180"/>
              <a:gd name="connsiteX14" fmla="*/ 533077 w 6514594"/>
              <a:gd name="connsiteY14" fmla="*/ 575965 h 823180"/>
              <a:gd name="connsiteX15" fmla="*/ 533077 w 6514594"/>
              <a:gd name="connsiteY15" fmla="*/ 575858 h 823180"/>
              <a:gd name="connsiteX16" fmla="*/ 539953 w 6514594"/>
              <a:gd name="connsiteY16" fmla="*/ 554352 h 823180"/>
              <a:gd name="connsiteX17" fmla="*/ 623450 w 6514594"/>
              <a:gd name="connsiteY17" fmla="*/ 436914 h 823180"/>
              <a:gd name="connsiteX18" fmla="*/ 642814 w 6514594"/>
              <a:gd name="connsiteY18" fmla="*/ 422761 h 823180"/>
              <a:gd name="connsiteX19" fmla="*/ 659546 w 6514594"/>
              <a:gd name="connsiteY19" fmla="*/ 421753 h 823180"/>
              <a:gd name="connsiteX20" fmla="*/ 5741899 w 6514594"/>
              <a:gd name="connsiteY20" fmla="*/ 266767 h 823180"/>
              <a:gd name="connsiteX21" fmla="*/ 5773146 w 6514594"/>
              <a:gd name="connsiteY21" fmla="*/ 303432 h 823180"/>
              <a:gd name="connsiteX22" fmla="*/ 5773146 w 6514594"/>
              <a:gd name="connsiteY22" fmla="*/ 805938 h 823180"/>
              <a:gd name="connsiteX23" fmla="*/ 5615427 w 6514594"/>
              <a:gd name="connsiteY23" fmla="*/ 805938 h 823180"/>
              <a:gd name="connsiteX24" fmla="*/ 5615427 w 6514594"/>
              <a:gd name="connsiteY24" fmla="*/ 420876 h 823180"/>
              <a:gd name="connsiteX25" fmla="*/ 5622309 w 6514594"/>
              <a:gd name="connsiteY25" fmla="*/ 399370 h 823180"/>
              <a:gd name="connsiteX26" fmla="*/ 5705806 w 6514594"/>
              <a:gd name="connsiteY26" fmla="*/ 281931 h 823180"/>
              <a:gd name="connsiteX27" fmla="*/ 5725169 w 6514594"/>
              <a:gd name="connsiteY27" fmla="*/ 267776 h 823180"/>
              <a:gd name="connsiteX28" fmla="*/ 5741899 w 6514594"/>
              <a:gd name="connsiteY28" fmla="*/ 266767 h 823180"/>
              <a:gd name="connsiteX29" fmla="*/ 4401173 w 6514594"/>
              <a:gd name="connsiteY29" fmla="*/ 136105 h 823180"/>
              <a:gd name="connsiteX30" fmla="*/ 4164301 w 6514594"/>
              <a:gd name="connsiteY30" fmla="*/ 338244 h 823180"/>
              <a:gd name="connsiteX31" fmla="*/ 4620645 w 6514594"/>
              <a:gd name="connsiteY31" fmla="*/ 338244 h 823180"/>
              <a:gd name="connsiteX32" fmla="*/ 4401173 w 6514594"/>
              <a:gd name="connsiteY32" fmla="*/ 136105 h 823180"/>
              <a:gd name="connsiteX33" fmla="*/ 2734586 w 6514594"/>
              <a:gd name="connsiteY33" fmla="*/ 123766 h 823180"/>
              <a:gd name="connsiteX34" fmla="*/ 2496430 w 6514594"/>
              <a:gd name="connsiteY34" fmla="*/ 410821 h 823180"/>
              <a:gd name="connsiteX35" fmla="*/ 2734586 w 6514594"/>
              <a:gd name="connsiteY35" fmla="*/ 699403 h 823180"/>
              <a:gd name="connsiteX36" fmla="*/ 2971108 w 6514594"/>
              <a:gd name="connsiteY36" fmla="*/ 410821 h 823180"/>
              <a:gd name="connsiteX37" fmla="*/ 2734586 w 6514594"/>
              <a:gd name="connsiteY37" fmla="*/ 123766 h 823180"/>
              <a:gd name="connsiteX38" fmla="*/ 1178468 w 6514594"/>
              <a:gd name="connsiteY38" fmla="*/ 123766 h 823180"/>
              <a:gd name="connsiteX39" fmla="*/ 940307 w 6514594"/>
              <a:gd name="connsiteY39" fmla="*/ 410821 h 823180"/>
              <a:gd name="connsiteX40" fmla="*/ 1178468 w 6514594"/>
              <a:gd name="connsiteY40" fmla="*/ 699403 h 823180"/>
              <a:gd name="connsiteX41" fmla="*/ 1414990 w 6514594"/>
              <a:gd name="connsiteY41" fmla="*/ 410821 h 823180"/>
              <a:gd name="connsiteX42" fmla="*/ 1178468 w 6514594"/>
              <a:gd name="connsiteY42" fmla="*/ 123766 h 823180"/>
              <a:gd name="connsiteX43" fmla="*/ 2185691 w 6514594"/>
              <a:gd name="connsiteY43" fmla="*/ 17462 h 823180"/>
              <a:gd name="connsiteX44" fmla="*/ 2353179 w 6514594"/>
              <a:gd name="connsiteY44" fmla="*/ 17462 h 823180"/>
              <a:gd name="connsiteX45" fmla="*/ 2335657 w 6514594"/>
              <a:gd name="connsiteY45" fmla="*/ 62216 h 823180"/>
              <a:gd name="connsiteX46" fmla="*/ 2043467 w 6514594"/>
              <a:gd name="connsiteY46" fmla="*/ 805830 h 823180"/>
              <a:gd name="connsiteX47" fmla="*/ 1867958 w 6514594"/>
              <a:gd name="connsiteY47" fmla="*/ 805830 h 823180"/>
              <a:gd name="connsiteX48" fmla="*/ 1760558 w 6514594"/>
              <a:gd name="connsiteY48" fmla="*/ 532528 h 823180"/>
              <a:gd name="connsiteX49" fmla="*/ 1764816 w 6514594"/>
              <a:gd name="connsiteY49" fmla="*/ 497489 h 823180"/>
              <a:gd name="connsiteX50" fmla="*/ 1812618 w 6514594"/>
              <a:gd name="connsiteY50" fmla="*/ 430257 h 823180"/>
              <a:gd name="connsiteX51" fmla="*/ 1878001 w 6514594"/>
              <a:gd name="connsiteY51" fmla="*/ 439859 h 823180"/>
              <a:gd name="connsiteX52" fmla="*/ 1922314 w 6514594"/>
              <a:gd name="connsiteY52" fmla="*/ 622573 h 823180"/>
              <a:gd name="connsiteX53" fmla="*/ 1954401 w 6514594"/>
              <a:gd name="connsiteY53" fmla="*/ 653133 h 823180"/>
              <a:gd name="connsiteX54" fmla="*/ 1955277 w 6514594"/>
              <a:gd name="connsiteY54" fmla="*/ 653133 h 823180"/>
              <a:gd name="connsiteX55" fmla="*/ 1987256 w 6514594"/>
              <a:gd name="connsiteY55" fmla="*/ 622573 h 823180"/>
              <a:gd name="connsiteX56" fmla="*/ 2048161 w 6514594"/>
              <a:gd name="connsiteY56" fmla="*/ 392928 h 823180"/>
              <a:gd name="connsiteX57" fmla="*/ 5615427 w 6514594"/>
              <a:gd name="connsiteY57" fmla="*/ 17457 h 823180"/>
              <a:gd name="connsiteX58" fmla="*/ 5773146 w 6514594"/>
              <a:gd name="connsiteY58" fmla="*/ 17457 h 823180"/>
              <a:gd name="connsiteX59" fmla="*/ 5773146 w 6514594"/>
              <a:gd name="connsiteY59" fmla="*/ 83491 h 823180"/>
              <a:gd name="connsiteX60" fmla="*/ 5767587 w 6514594"/>
              <a:gd name="connsiteY60" fmla="*/ 100846 h 823180"/>
              <a:gd name="connsiteX61" fmla="*/ 5682790 w 6514594"/>
              <a:gd name="connsiteY61" fmla="*/ 220359 h 823180"/>
              <a:gd name="connsiteX62" fmla="*/ 5615427 w 6514594"/>
              <a:gd name="connsiteY62" fmla="*/ 198859 h 823180"/>
              <a:gd name="connsiteX63" fmla="*/ 2353221 w 6514594"/>
              <a:gd name="connsiteY63" fmla="*/ 17355 h 823180"/>
              <a:gd name="connsiteX64" fmla="*/ 2353221 w 6514594"/>
              <a:gd name="connsiteY64" fmla="*/ 17462 h 823180"/>
              <a:gd name="connsiteX65" fmla="*/ 2353179 w 6514594"/>
              <a:gd name="connsiteY65" fmla="*/ 17462 h 823180"/>
              <a:gd name="connsiteX66" fmla="*/ 1558181 w 6514594"/>
              <a:gd name="connsiteY66" fmla="*/ 17355 h 823180"/>
              <a:gd name="connsiteX67" fmla="*/ 1727357 w 6514594"/>
              <a:gd name="connsiteY67" fmla="*/ 17355 h 823180"/>
              <a:gd name="connsiteX68" fmla="*/ 1824284 w 6514594"/>
              <a:gd name="connsiteY68" fmla="*/ 289017 h 823180"/>
              <a:gd name="connsiteX69" fmla="*/ 1824392 w 6514594"/>
              <a:gd name="connsiteY69" fmla="*/ 289017 h 823180"/>
              <a:gd name="connsiteX70" fmla="*/ 1819698 w 6514594"/>
              <a:gd name="connsiteY70" fmla="*/ 322964 h 823180"/>
              <a:gd name="connsiteX71" fmla="*/ 1768616 w 6514594"/>
              <a:gd name="connsiteY71" fmla="*/ 395004 h 823180"/>
              <a:gd name="connsiteX72" fmla="*/ 1703787 w 6514594"/>
              <a:gd name="connsiteY72" fmla="*/ 387143 h 823180"/>
              <a:gd name="connsiteX73" fmla="*/ 1558181 w 6514594"/>
              <a:gd name="connsiteY73" fmla="*/ 17355 h 823180"/>
              <a:gd name="connsiteX74" fmla="*/ 4402474 w 6514594"/>
              <a:gd name="connsiteY74" fmla="*/ 3495 h 823180"/>
              <a:gd name="connsiteX75" fmla="*/ 4783402 w 6514594"/>
              <a:gd name="connsiteY75" fmla="*/ 425128 h 823180"/>
              <a:gd name="connsiteX76" fmla="*/ 4783402 w 6514594"/>
              <a:gd name="connsiteY76" fmla="*/ 463000 h 823180"/>
              <a:gd name="connsiteX77" fmla="*/ 4162780 w 6514594"/>
              <a:gd name="connsiteY77" fmla="*/ 463000 h 823180"/>
              <a:gd name="connsiteX78" fmla="*/ 4401173 w 6514594"/>
              <a:gd name="connsiteY78" fmla="*/ 690462 h 823180"/>
              <a:gd name="connsiteX79" fmla="*/ 4601344 w 6514594"/>
              <a:gd name="connsiteY79" fmla="*/ 578040 h 823180"/>
              <a:gd name="connsiteX80" fmla="*/ 4636043 w 6514594"/>
              <a:gd name="connsiteY80" fmla="*/ 555120 h 823180"/>
              <a:gd name="connsiteX81" fmla="*/ 4636043 w 6514594"/>
              <a:gd name="connsiteY81" fmla="*/ 555228 h 823180"/>
              <a:gd name="connsiteX82" fmla="*/ 4771826 w 6514594"/>
              <a:gd name="connsiteY82" fmla="*/ 555228 h 823180"/>
              <a:gd name="connsiteX83" fmla="*/ 4405969 w 6514594"/>
              <a:gd name="connsiteY83" fmla="*/ 823180 h 823180"/>
              <a:gd name="connsiteX84" fmla="*/ 4008013 w 6514594"/>
              <a:gd name="connsiteY84" fmla="*/ 409628 h 823180"/>
              <a:gd name="connsiteX85" fmla="*/ 4402474 w 6514594"/>
              <a:gd name="connsiteY85" fmla="*/ 3495 h 823180"/>
              <a:gd name="connsiteX86" fmla="*/ 3613231 w 6514594"/>
              <a:gd name="connsiteY86" fmla="*/ 1527 h 823180"/>
              <a:gd name="connsiteX87" fmla="*/ 3907060 w 6514594"/>
              <a:gd name="connsiteY87" fmla="*/ 231715 h 823180"/>
              <a:gd name="connsiteX88" fmla="*/ 3900715 w 6514594"/>
              <a:gd name="connsiteY88" fmla="*/ 259770 h 823180"/>
              <a:gd name="connsiteX89" fmla="*/ 3820934 w 6514594"/>
              <a:gd name="connsiteY89" fmla="*/ 372299 h 823180"/>
              <a:gd name="connsiteX90" fmla="*/ 3820827 w 6514594"/>
              <a:gd name="connsiteY90" fmla="*/ 372299 h 823180"/>
              <a:gd name="connsiteX91" fmla="*/ 3753487 w 6514594"/>
              <a:gd name="connsiteY91" fmla="*/ 350799 h 823180"/>
              <a:gd name="connsiteX92" fmla="*/ 3753487 w 6514594"/>
              <a:gd name="connsiteY92" fmla="*/ 315325 h 823180"/>
              <a:gd name="connsiteX93" fmla="*/ 3575246 w 6514594"/>
              <a:gd name="connsiteY93" fmla="*/ 140251 h 823180"/>
              <a:gd name="connsiteX94" fmla="*/ 3388715 w 6514594"/>
              <a:gd name="connsiteY94" fmla="*/ 234667 h 823180"/>
              <a:gd name="connsiteX95" fmla="*/ 3378117 w 6514594"/>
              <a:gd name="connsiteY95" fmla="*/ 267625 h 823180"/>
              <a:gd name="connsiteX96" fmla="*/ 3378117 w 6514594"/>
              <a:gd name="connsiteY96" fmla="*/ 805825 h 823180"/>
              <a:gd name="connsiteX97" fmla="*/ 3220398 w 6514594"/>
              <a:gd name="connsiteY97" fmla="*/ 805825 h 823180"/>
              <a:gd name="connsiteX98" fmla="*/ 3220398 w 6514594"/>
              <a:gd name="connsiteY98" fmla="*/ 17355 h 823180"/>
              <a:gd name="connsiteX99" fmla="*/ 3371795 w 6514594"/>
              <a:gd name="connsiteY99" fmla="*/ 17355 h 823180"/>
              <a:gd name="connsiteX100" fmla="*/ 3338289 w 6514594"/>
              <a:gd name="connsiteY100" fmla="*/ 133595 h 823180"/>
              <a:gd name="connsiteX101" fmla="*/ 3364155 w 6514594"/>
              <a:gd name="connsiteY101" fmla="*/ 173321 h 823180"/>
              <a:gd name="connsiteX102" fmla="*/ 3385763 w 6514594"/>
              <a:gd name="connsiteY102" fmla="*/ 160445 h 823180"/>
              <a:gd name="connsiteX103" fmla="*/ 3613231 w 6514594"/>
              <a:gd name="connsiteY103" fmla="*/ 1527 h 823180"/>
              <a:gd name="connsiteX104" fmla="*/ 392713 w 6514594"/>
              <a:gd name="connsiteY104" fmla="*/ 1527 h 823180"/>
              <a:gd name="connsiteX105" fmla="*/ 686538 w 6514594"/>
              <a:gd name="connsiteY105" fmla="*/ 231715 h 823180"/>
              <a:gd name="connsiteX106" fmla="*/ 680210 w 6514594"/>
              <a:gd name="connsiteY106" fmla="*/ 259770 h 823180"/>
              <a:gd name="connsiteX107" fmla="*/ 600423 w 6514594"/>
              <a:gd name="connsiteY107" fmla="*/ 372299 h 823180"/>
              <a:gd name="connsiteX108" fmla="*/ 533077 w 6514594"/>
              <a:gd name="connsiteY108" fmla="*/ 350799 h 823180"/>
              <a:gd name="connsiteX109" fmla="*/ 533077 w 6514594"/>
              <a:gd name="connsiteY109" fmla="*/ 315325 h 823180"/>
              <a:gd name="connsiteX110" fmla="*/ 354842 w 6514594"/>
              <a:gd name="connsiteY110" fmla="*/ 140251 h 823180"/>
              <a:gd name="connsiteX111" fmla="*/ 168305 w 6514594"/>
              <a:gd name="connsiteY111" fmla="*/ 234667 h 823180"/>
              <a:gd name="connsiteX112" fmla="*/ 157719 w 6514594"/>
              <a:gd name="connsiteY112" fmla="*/ 267625 h 823180"/>
              <a:gd name="connsiteX113" fmla="*/ 157719 w 6514594"/>
              <a:gd name="connsiteY113" fmla="*/ 805825 h 823180"/>
              <a:gd name="connsiteX114" fmla="*/ 0 w 6514594"/>
              <a:gd name="connsiteY114" fmla="*/ 805825 h 823180"/>
              <a:gd name="connsiteX115" fmla="*/ 0 w 6514594"/>
              <a:gd name="connsiteY115" fmla="*/ 17355 h 823180"/>
              <a:gd name="connsiteX116" fmla="*/ 151277 w 6514594"/>
              <a:gd name="connsiteY116" fmla="*/ 17355 h 823180"/>
              <a:gd name="connsiteX117" fmla="*/ 117771 w 6514594"/>
              <a:gd name="connsiteY117" fmla="*/ 133595 h 823180"/>
              <a:gd name="connsiteX118" fmla="*/ 143638 w 6514594"/>
              <a:gd name="connsiteY118" fmla="*/ 173321 h 823180"/>
              <a:gd name="connsiteX119" fmla="*/ 165251 w 6514594"/>
              <a:gd name="connsiteY119" fmla="*/ 160445 h 823180"/>
              <a:gd name="connsiteX120" fmla="*/ 392713 w 6514594"/>
              <a:gd name="connsiteY120" fmla="*/ 1527 h 823180"/>
              <a:gd name="connsiteX121" fmla="*/ 2734479 w 6514594"/>
              <a:gd name="connsiteY121" fmla="*/ 758 h 823180"/>
              <a:gd name="connsiteX122" fmla="*/ 3124025 w 6514594"/>
              <a:gd name="connsiteY122" fmla="*/ 410821 h 823180"/>
              <a:gd name="connsiteX123" fmla="*/ 2734479 w 6514594"/>
              <a:gd name="connsiteY123" fmla="*/ 822411 h 823180"/>
              <a:gd name="connsiteX124" fmla="*/ 2343405 w 6514594"/>
              <a:gd name="connsiteY124" fmla="*/ 410821 h 823180"/>
              <a:gd name="connsiteX125" fmla="*/ 2734479 w 6514594"/>
              <a:gd name="connsiteY125" fmla="*/ 758 h 823180"/>
              <a:gd name="connsiteX126" fmla="*/ 1178355 w 6514594"/>
              <a:gd name="connsiteY126" fmla="*/ 758 h 823180"/>
              <a:gd name="connsiteX127" fmla="*/ 1567908 w 6514594"/>
              <a:gd name="connsiteY127" fmla="*/ 410821 h 823180"/>
              <a:gd name="connsiteX128" fmla="*/ 1178355 w 6514594"/>
              <a:gd name="connsiteY128" fmla="*/ 822411 h 823180"/>
              <a:gd name="connsiteX129" fmla="*/ 787282 w 6514594"/>
              <a:gd name="connsiteY129" fmla="*/ 410821 h 823180"/>
              <a:gd name="connsiteX130" fmla="*/ 1178355 w 6514594"/>
              <a:gd name="connsiteY130" fmla="*/ 758 h 823180"/>
              <a:gd name="connsiteX131" fmla="*/ 6183435 w 6514594"/>
              <a:gd name="connsiteY131" fmla="*/ 0 h 823180"/>
              <a:gd name="connsiteX132" fmla="*/ 6492550 w 6514594"/>
              <a:gd name="connsiteY132" fmla="*/ 257038 h 823180"/>
              <a:gd name="connsiteX133" fmla="*/ 6371052 w 6514594"/>
              <a:gd name="connsiteY133" fmla="*/ 257038 h 823180"/>
              <a:gd name="connsiteX134" fmla="*/ 6334832 w 6514594"/>
              <a:gd name="connsiteY134" fmla="*/ 227790 h 823180"/>
              <a:gd name="connsiteX135" fmla="*/ 6183435 w 6514594"/>
              <a:gd name="connsiteY135" fmla="*/ 124535 h 823180"/>
              <a:gd name="connsiteX136" fmla="*/ 6039894 w 6514594"/>
              <a:gd name="connsiteY136" fmla="*/ 219166 h 823180"/>
              <a:gd name="connsiteX137" fmla="*/ 6191296 w 6514594"/>
              <a:gd name="connsiteY137" fmla="*/ 339008 h 823180"/>
              <a:gd name="connsiteX138" fmla="*/ 6514594 w 6514594"/>
              <a:gd name="connsiteY138" fmla="*/ 596046 h 823180"/>
              <a:gd name="connsiteX139" fmla="*/ 6197635 w 6514594"/>
              <a:gd name="connsiteY139" fmla="*/ 823180 h 823180"/>
              <a:gd name="connsiteX140" fmla="*/ 5856965 w 6514594"/>
              <a:gd name="connsiteY140" fmla="*/ 555115 h 823180"/>
              <a:gd name="connsiteX141" fmla="*/ 5857072 w 6514594"/>
              <a:gd name="connsiteY141" fmla="*/ 555115 h 823180"/>
              <a:gd name="connsiteX142" fmla="*/ 5984672 w 6514594"/>
              <a:gd name="connsiteY142" fmla="*/ 555115 h 823180"/>
              <a:gd name="connsiteX143" fmla="*/ 6019722 w 6514594"/>
              <a:gd name="connsiteY143" fmla="*/ 580116 h 823180"/>
              <a:gd name="connsiteX144" fmla="*/ 6194570 w 6514594"/>
              <a:gd name="connsiteY144" fmla="*/ 698538 h 823180"/>
              <a:gd name="connsiteX145" fmla="*/ 6355461 w 6514594"/>
              <a:gd name="connsiteY145" fmla="*/ 596046 h 823180"/>
              <a:gd name="connsiteX146" fmla="*/ 6142499 w 6514594"/>
              <a:gd name="connsiteY146" fmla="*/ 471511 h 823180"/>
              <a:gd name="connsiteX147" fmla="*/ 5883826 w 6514594"/>
              <a:gd name="connsiteY147" fmla="*/ 219166 h 823180"/>
              <a:gd name="connsiteX148" fmla="*/ 6183435 w 6514594"/>
              <a:gd name="connsiteY148" fmla="*/ 0 h 823180"/>
              <a:gd name="connsiteX149" fmla="*/ 5176541 w 6514594"/>
              <a:gd name="connsiteY149" fmla="*/ 0 h 823180"/>
              <a:gd name="connsiteX150" fmla="*/ 5485656 w 6514594"/>
              <a:gd name="connsiteY150" fmla="*/ 257038 h 823180"/>
              <a:gd name="connsiteX151" fmla="*/ 5364181 w 6514594"/>
              <a:gd name="connsiteY151" fmla="*/ 257038 h 823180"/>
              <a:gd name="connsiteX152" fmla="*/ 5327937 w 6514594"/>
              <a:gd name="connsiteY152" fmla="*/ 227790 h 823180"/>
              <a:gd name="connsiteX153" fmla="*/ 5176541 w 6514594"/>
              <a:gd name="connsiteY153" fmla="*/ 124535 h 823180"/>
              <a:gd name="connsiteX154" fmla="*/ 5033022 w 6514594"/>
              <a:gd name="connsiteY154" fmla="*/ 219166 h 823180"/>
              <a:gd name="connsiteX155" fmla="*/ 5184401 w 6514594"/>
              <a:gd name="connsiteY155" fmla="*/ 339008 h 823180"/>
              <a:gd name="connsiteX156" fmla="*/ 5507700 w 6514594"/>
              <a:gd name="connsiteY156" fmla="*/ 596046 h 823180"/>
              <a:gd name="connsiteX157" fmla="*/ 5190741 w 6514594"/>
              <a:gd name="connsiteY157" fmla="*/ 823180 h 823180"/>
              <a:gd name="connsiteX158" fmla="*/ 4850093 w 6514594"/>
              <a:gd name="connsiteY158" fmla="*/ 555115 h 823180"/>
              <a:gd name="connsiteX159" fmla="*/ 4850200 w 6514594"/>
              <a:gd name="connsiteY159" fmla="*/ 555115 h 823180"/>
              <a:gd name="connsiteX160" fmla="*/ 4977801 w 6514594"/>
              <a:gd name="connsiteY160" fmla="*/ 555115 h 823180"/>
              <a:gd name="connsiteX161" fmla="*/ 5012828 w 6514594"/>
              <a:gd name="connsiteY161" fmla="*/ 580116 h 823180"/>
              <a:gd name="connsiteX162" fmla="*/ 5187681 w 6514594"/>
              <a:gd name="connsiteY162" fmla="*/ 698538 h 823180"/>
              <a:gd name="connsiteX163" fmla="*/ 5348567 w 6514594"/>
              <a:gd name="connsiteY163" fmla="*/ 596046 h 823180"/>
              <a:gd name="connsiteX164" fmla="*/ 5135627 w 6514594"/>
              <a:gd name="connsiteY164" fmla="*/ 471511 h 823180"/>
              <a:gd name="connsiteX165" fmla="*/ 4876932 w 6514594"/>
              <a:gd name="connsiteY165" fmla="*/ 219166 h 823180"/>
              <a:gd name="connsiteX166" fmla="*/ 5176541 w 6514594"/>
              <a:gd name="connsiteY166" fmla="*/ 0 h 82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6514594" h="823180">
                <a:moveTo>
                  <a:pt x="3880054" y="421753"/>
                </a:moveTo>
                <a:cubicBezTo>
                  <a:pt x="3896630" y="424507"/>
                  <a:pt x="3911313" y="438094"/>
                  <a:pt x="3911313" y="458414"/>
                </a:cubicBezTo>
                <a:lnTo>
                  <a:pt x="3911313" y="805825"/>
                </a:lnTo>
                <a:lnTo>
                  <a:pt x="3753594" y="805825"/>
                </a:lnTo>
                <a:lnTo>
                  <a:pt x="3753594" y="575965"/>
                </a:lnTo>
                <a:lnTo>
                  <a:pt x="3753594" y="575858"/>
                </a:lnTo>
                <a:cubicBezTo>
                  <a:pt x="3753594" y="568105"/>
                  <a:pt x="3755986" y="560685"/>
                  <a:pt x="3760459" y="554352"/>
                </a:cubicBezTo>
                <a:lnTo>
                  <a:pt x="3843956" y="436914"/>
                </a:lnTo>
                <a:cubicBezTo>
                  <a:pt x="3849194" y="429546"/>
                  <a:pt x="3856023" y="424949"/>
                  <a:pt x="3863320" y="422761"/>
                </a:cubicBezTo>
                <a:cubicBezTo>
                  <a:pt x="3868793" y="421120"/>
                  <a:pt x="3874528" y="420835"/>
                  <a:pt x="3880054" y="421753"/>
                </a:cubicBezTo>
                <a:close/>
                <a:moveTo>
                  <a:pt x="659546" y="421753"/>
                </a:moveTo>
                <a:cubicBezTo>
                  <a:pt x="676118" y="424507"/>
                  <a:pt x="690796" y="438094"/>
                  <a:pt x="690796" y="458414"/>
                </a:cubicBezTo>
                <a:lnTo>
                  <a:pt x="690796" y="805825"/>
                </a:lnTo>
                <a:lnTo>
                  <a:pt x="533077" y="805825"/>
                </a:lnTo>
                <a:lnTo>
                  <a:pt x="533077" y="575965"/>
                </a:lnTo>
                <a:lnTo>
                  <a:pt x="533077" y="575858"/>
                </a:lnTo>
                <a:cubicBezTo>
                  <a:pt x="533077" y="568105"/>
                  <a:pt x="535480" y="560685"/>
                  <a:pt x="539953" y="554352"/>
                </a:cubicBezTo>
                <a:lnTo>
                  <a:pt x="623450" y="436914"/>
                </a:lnTo>
                <a:cubicBezTo>
                  <a:pt x="628689" y="429546"/>
                  <a:pt x="635518" y="424949"/>
                  <a:pt x="642814" y="422761"/>
                </a:cubicBezTo>
                <a:cubicBezTo>
                  <a:pt x="648286" y="421120"/>
                  <a:pt x="654021" y="420835"/>
                  <a:pt x="659546" y="421753"/>
                </a:cubicBezTo>
                <a:close/>
                <a:moveTo>
                  <a:pt x="5741899" y="266767"/>
                </a:moveTo>
                <a:cubicBezTo>
                  <a:pt x="5758470" y="269521"/>
                  <a:pt x="5773146" y="283109"/>
                  <a:pt x="5773146" y="303432"/>
                </a:cubicBezTo>
                <a:lnTo>
                  <a:pt x="5773146" y="805938"/>
                </a:lnTo>
                <a:lnTo>
                  <a:pt x="5615427" y="805938"/>
                </a:lnTo>
                <a:lnTo>
                  <a:pt x="5615427" y="420876"/>
                </a:lnTo>
                <a:cubicBezTo>
                  <a:pt x="5615427" y="413123"/>
                  <a:pt x="5617836" y="405703"/>
                  <a:pt x="5622309" y="399370"/>
                </a:cubicBezTo>
                <a:lnTo>
                  <a:pt x="5705806" y="281931"/>
                </a:lnTo>
                <a:cubicBezTo>
                  <a:pt x="5711045" y="274563"/>
                  <a:pt x="5717874" y="269964"/>
                  <a:pt x="5725169" y="267776"/>
                </a:cubicBezTo>
                <a:cubicBezTo>
                  <a:pt x="5730641" y="266134"/>
                  <a:pt x="5736375" y="265849"/>
                  <a:pt x="5741899" y="266767"/>
                </a:cubicBezTo>
                <a:close/>
                <a:moveTo>
                  <a:pt x="4401173" y="136105"/>
                </a:moveTo>
                <a:cubicBezTo>
                  <a:pt x="4266906" y="136105"/>
                  <a:pt x="4176849" y="234011"/>
                  <a:pt x="4164301" y="338244"/>
                </a:cubicBezTo>
                <a:lnTo>
                  <a:pt x="4620645" y="338244"/>
                </a:lnTo>
                <a:cubicBezTo>
                  <a:pt x="4608096" y="246672"/>
                  <a:pt x="4536933" y="136105"/>
                  <a:pt x="4401173" y="136105"/>
                </a:cubicBezTo>
                <a:close/>
                <a:moveTo>
                  <a:pt x="2734586" y="123766"/>
                </a:moveTo>
                <a:cubicBezTo>
                  <a:pt x="2581685" y="123766"/>
                  <a:pt x="2496430" y="249941"/>
                  <a:pt x="2496430" y="410821"/>
                </a:cubicBezTo>
                <a:cubicBezTo>
                  <a:pt x="2496430" y="571701"/>
                  <a:pt x="2578406" y="699403"/>
                  <a:pt x="2734586" y="699403"/>
                </a:cubicBezTo>
                <a:cubicBezTo>
                  <a:pt x="2890784" y="699403"/>
                  <a:pt x="2971108" y="571701"/>
                  <a:pt x="2971108" y="410821"/>
                </a:cubicBezTo>
                <a:cubicBezTo>
                  <a:pt x="2971108" y="249941"/>
                  <a:pt x="2887504" y="123766"/>
                  <a:pt x="2734586" y="123766"/>
                </a:cubicBezTo>
                <a:close/>
                <a:moveTo>
                  <a:pt x="1178468" y="123766"/>
                </a:moveTo>
                <a:cubicBezTo>
                  <a:pt x="1025551" y="123766"/>
                  <a:pt x="940307" y="249941"/>
                  <a:pt x="940307" y="410821"/>
                </a:cubicBezTo>
                <a:cubicBezTo>
                  <a:pt x="940307" y="571701"/>
                  <a:pt x="1022276" y="699403"/>
                  <a:pt x="1178468" y="699403"/>
                </a:cubicBezTo>
                <a:cubicBezTo>
                  <a:pt x="1334660" y="699403"/>
                  <a:pt x="1414990" y="571701"/>
                  <a:pt x="1414990" y="410821"/>
                </a:cubicBezTo>
                <a:cubicBezTo>
                  <a:pt x="1414990" y="249941"/>
                  <a:pt x="1331380" y="123766"/>
                  <a:pt x="1178468" y="123766"/>
                </a:cubicBezTo>
                <a:close/>
                <a:moveTo>
                  <a:pt x="2185691" y="17462"/>
                </a:moveTo>
                <a:lnTo>
                  <a:pt x="2353179" y="17462"/>
                </a:lnTo>
                <a:lnTo>
                  <a:pt x="2335657" y="62216"/>
                </a:lnTo>
                <a:lnTo>
                  <a:pt x="2043467" y="805830"/>
                </a:lnTo>
                <a:lnTo>
                  <a:pt x="1867958" y="805830"/>
                </a:lnTo>
                <a:lnTo>
                  <a:pt x="1760558" y="532528"/>
                </a:lnTo>
                <a:cubicBezTo>
                  <a:pt x="1755971" y="520850"/>
                  <a:pt x="1757611" y="507640"/>
                  <a:pt x="1764816" y="497489"/>
                </a:cubicBezTo>
                <a:lnTo>
                  <a:pt x="1812618" y="430257"/>
                </a:lnTo>
                <a:cubicBezTo>
                  <a:pt x="1830194" y="405590"/>
                  <a:pt x="1868286" y="411047"/>
                  <a:pt x="1878001" y="439859"/>
                </a:cubicBezTo>
                <a:cubicBezTo>
                  <a:pt x="1896448" y="494651"/>
                  <a:pt x="1919255" y="570943"/>
                  <a:pt x="1922314" y="622573"/>
                </a:cubicBezTo>
                <a:cubicBezTo>
                  <a:pt x="1923298" y="639708"/>
                  <a:pt x="1937158" y="653133"/>
                  <a:pt x="1954401" y="653133"/>
                </a:cubicBezTo>
                <a:lnTo>
                  <a:pt x="1955277" y="653133"/>
                </a:lnTo>
                <a:cubicBezTo>
                  <a:pt x="1972412" y="653133"/>
                  <a:pt x="1986272" y="639600"/>
                  <a:pt x="1987256" y="622573"/>
                </a:cubicBezTo>
                <a:cubicBezTo>
                  <a:pt x="1992385" y="533834"/>
                  <a:pt x="2019671" y="471075"/>
                  <a:pt x="2048161" y="392928"/>
                </a:cubicBezTo>
                <a:close/>
                <a:moveTo>
                  <a:pt x="5615427" y="17457"/>
                </a:moveTo>
                <a:lnTo>
                  <a:pt x="5773146" y="17457"/>
                </a:lnTo>
                <a:lnTo>
                  <a:pt x="5773146" y="83491"/>
                </a:lnTo>
                <a:cubicBezTo>
                  <a:pt x="5773146" y="89711"/>
                  <a:pt x="5771189" y="95824"/>
                  <a:pt x="5767587" y="100846"/>
                </a:cubicBezTo>
                <a:lnTo>
                  <a:pt x="5682790" y="220359"/>
                </a:lnTo>
                <a:cubicBezTo>
                  <a:pt x="5661940" y="249828"/>
                  <a:pt x="5615427" y="234983"/>
                  <a:pt x="5615427" y="198859"/>
                </a:cubicBezTo>
                <a:close/>
                <a:moveTo>
                  <a:pt x="2353221" y="17355"/>
                </a:moveTo>
                <a:lnTo>
                  <a:pt x="2353221" y="17462"/>
                </a:lnTo>
                <a:lnTo>
                  <a:pt x="2353179" y="17462"/>
                </a:lnTo>
                <a:close/>
                <a:moveTo>
                  <a:pt x="1558181" y="17355"/>
                </a:moveTo>
                <a:lnTo>
                  <a:pt x="1727357" y="17355"/>
                </a:lnTo>
                <a:lnTo>
                  <a:pt x="1824284" y="289017"/>
                </a:lnTo>
                <a:lnTo>
                  <a:pt x="1824392" y="289017"/>
                </a:lnTo>
                <a:cubicBezTo>
                  <a:pt x="1828429" y="300373"/>
                  <a:pt x="1826682" y="313142"/>
                  <a:pt x="1819698" y="322964"/>
                </a:cubicBezTo>
                <a:lnTo>
                  <a:pt x="1768616" y="395004"/>
                </a:lnTo>
                <a:cubicBezTo>
                  <a:pt x="1751589" y="419015"/>
                  <a:pt x="1714588" y="414536"/>
                  <a:pt x="1703787" y="387143"/>
                </a:cubicBezTo>
                <a:cubicBezTo>
                  <a:pt x="1654232" y="261189"/>
                  <a:pt x="1558181" y="17355"/>
                  <a:pt x="1558181" y="17355"/>
                </a:cubicBezTo>
                <a:close/>
                <a:moveTo>
                  <a:pt x="4402474" y="3495"/>
                </a:moveTo>
                <a:cubicBezTo>
                  <a:pt x="4661146" y="2296"/>
                  <a:pt x="4783402" y="230408"/>
                  <a:pt x="4783402" y="425128"/>
                </a:cubicBezTo>
                <a:lnTo>
                  <a:pt x="4783402" y="463000"/>
                </a:lnTo>
                <a:lnTo>
                  <a:pt x="4162780" y="463000"/>
                </a:lnTo>
                <a:cubicBezTo>
                  <a:pt x="4162780" y="530889"/>
                  <a:pt x="4217894" y="690462"/>
                  <a:pt x="4401173" y="690462"/>
                </a:cubicBezTo>
                <a:cubicBezTo>
                  <a:pt x="4519256" y="690462"/>
                  <a:pt x="4575026" y="644509"/>
                  <a:pt x="4601344" y="578040"/>
                </a:cubicBezTo>
                <a:cubicBezTo>
                  <a:pt x="4606903" y="563959"/>
                  <a:pt x="4620973" y="555120"/>
                  <a:pt x="4636043" y="555120"/>
                </a:cubicBezTo>
                <a:lnTo>
                  <a:pt x="4636043" y="555228"/>
                </a:lnTo>
                <a:lnTo>
                  <a:pt x="4771826" y="555228"/>
                </a:lnTo>
                <a:cubicBezTo>
                  <a:pt x="4746723" y="694607"/>
                  <a:pt x="4615742" y="823180"/>
                  <a:pt x="4405969" y="823180"/>
                </a:cubicBezTo>
                <a:cubicBezTo>
                  <a:pt x="4168011" y="823180"/>
                  <a:pt x="4008776" y="667542"/>
                  <a:pt x="4008013" y="409628"/>
                </a:cubicBezTo>
                <a:cubicBezTo>
                  <a:pt x="4007363" y="189370"/>
                  <a:pt x="4182216" y="4479"/>
                  <a:pt x="4402474" y="3495"/>
                </a:cubicBezTo>
                <a:close/>
                <a:moveTo>
                  <a:pt x="3613231" y="1527"/>
                </a:moveTo>
                <a:cubicBezTo>
                  <a:pt x="3740045" y="1527"/>
                  <a:pt x="3881064" y="72362"/>
                  <a:pt x="3907060" y="231715"/>
                </a:cubicBezTo>
                <a:cubicBezTo>
                  <a:pt x="3908576" y="241538"/>
                  <a:pt x="3906518" y="251689"/>
                  <a:pt x="3900715" y="259770"/>
                </a:cubicBezTo>
                <a:lnTo>
                  <a:pt x="3820934" y="372299"/>
                </a:lnTo>
                <a:lnTo>
                  <a:pt x="3820827" y="372299"/>
                </a:lnTo>
                <a:cubicBezTo>
                  <a:pt x="3799982" y="401768"/>
                  <a:pt x="3753487" y="386923"/>
                  <a:pt x="3753487" y="350799"/>
                </a:cubicBezTo>
                <a:lnTo>
                  <a:pt x="3753487" y="315325"/>
                </a:lnTo>
                <a:cubicBezTo>
                  <a:pt x="3753487" y="197118"/>
                  <a:pt x="3685694" y="140251"/>
                  <a:pt x="3575246" y="140251"/>
                </a:cubicBezTo>
                <a:cubicBezTo>
                  <a:pt x="3496008" y="140251"/>
                  <a:pt x="3428537" y="179762"/>
                  <a:pt x="3388715" y="234667"/>
                </a:cubicBezTo>
                <a:cubicBezTo>
                  <a:pt x="3381719" y="244269"/>
                  <a:pt x="3378117" y="255839"/>
                  <a:pt x="3378117" y="267625"/>
                </a:cubicBezTo>
                <a:lnTo>
                  <a:pt x="3378117" y="805825"/>
                </a:lnTo>
                <a:lnTo>
                  <a:pt x="3220398" y="805825"/>
                </a:lnTo>
                <a:lnTo>
                  <a:pt x="3220398" y="17355"/>
                </a:lnTo>
                <a:lnTo>
                  <a:pt x="3371795" y="17355"/>
                </a:lnTo>
                <a:cubicBezTo>
                  <a:pt x="3371795" y="59044"/>
                  <a:pt x="3355859" y="100739"/>
                  <a:pt x="3338289" y="133595"/>
                </a:cubicBezTo>
                <a:cubicBezTo>
                  <a:pt x="3328234" y="152041"/>
                  <a:pt x="3342654" y="174633"/>
                  <a:pt x="3364155" y="173321"/>
                </a:cubicBezTo>
                <a:cubicBezTo>
                  <a:pt x="3372994" y="172778"/>
                  <a:pt x="3380747" y="167649"/>
                  <a:pt x="3385763" y="160445"/>
                </a:cubicBezTo>
                <a:cubicBezTo>
                  <a:pt x="3424828" y="103798"/>
                  <a:pt x="3486388" y="1527"/>
                  <a:pt x="3613231" y="1527"/>
                </a:cubicBezTo>
                <a:close/>
                <a:moveTo>
                  <a:pt x="392713" y="1527"/>
                </a:moveTo>
                <a:cubicBezTo>
                  <a:pt x="519544" y="1527"/>
                  <a:pt x="660564" y="72362"/>
                  <a:pt x="686538" y="231715"/>
                </a:cubicBezTo>
                <a:cubicBezTo>
                  <a:pt x="688064" y="241538"/>
                  <a:pt x="685995" y="251689"/>
                  <a:pt x="680210" y="259770"/>
                </a:cubicBezTo>
                <a:lnTo>
                  <a:pt x="600423" y="372299"/>
                </a:lnTo>
                <a:cubicBezTo>
                  <a:pt x="579573" y="401768"/>
                  <a:pt x="533077" y="386923"/>
                  <a:pt x="533077" y="350799"/>
                </a:cubicBezTo>
                <a:lnTo>
                  <a:pt x="533077" y="315325"/>
                </a:lnTo>
                <a:cubicBezTo>
                  <a:pt x="533077" y="197118"/>
                  <a:pt x="465296" y="140251"/>
                  <a:pt x="354842" y="140251"/>
                </a:cubicBezTo>
                <a:cubicBezTo>
                  <a:pt x="275598" y="140251"/>
                  <a:pt x="208144" y="179762"/>
                  <a:pt x="168305" y="234667"/>
                </a:cubicBezTo>
                <a:cubicBezTo>
                  <a:pt x="161321" y="244269"/>
                  <a:pt x="157719" y="255839"/>
                  <a:pt x="157719" y="267625"/>
                </a:cubicBezTo>
                <a:lnTo>
                  <a:pt x="157719" y="805825"/>
                </a:lnTo>
                <a:lnTo>
                  <a:pt x="0" y="805825"/>
                </a:lnTo>
                <a:lnTo>
                  <a:pt x="0" y="17355"/>
                </a:lnTo>
                <a:lnTo>
                  <a:pt x="151277" y="17355"/>
                </a:lnTo>
                <a:cubicBezTo>
                  <a:pt x="151277" y="59044"/>
                  <a:pt x="135342" y="100739"/>
                  <a:pt x="117771" y="133595"/>
                </a:cubicBezTo>
                <a:cubicBezTo>
                  <a:pt x="107728" y="152041"/>
                  <a:pt x="122137" y="174633"/>
                  <a:pt x="143638" y="173321"/>
                </a:cubicBezTo>
                <a:cubicBezTo>
                  <a:pt x="152476" y="172778"/>
                  <a:pt x="160229" y="167649"/>
                  <a:pt x="165251" y="160445"/>
                </a:cubicBezTo>
                <a:cubicBezTo>
                  <a:pt x="204322" y="103798"/>
                  <a:pt x="265882" y="1527"/>
                  <a:pt x="392713" y="1527"/>
                </a:cubicBezTo>
                <a:close/>
                <a:moveTo>
                  <a:pt x="2734479" y="758"/>
                </a:moveTo>
                <a:cubicBezTo>
                  <a:pt x="2980512" y="758"/>
                  <a:pt x="3124025" y="158477"/>
                  <a:pt x="3124025" y="410821"/>
                </a:cubicBezTo>
                <a:cubicBezTo>
                  <a:pt x="3124025" y="663165"/>
                  <a:pt x="2978968" y="822411"/>
                  <a:pt x="2734479" y="822411"/>
                </a:cubicBezTo>
                <a:cubicBezTo>
                  <a:pt x="2490006" y="822411"/>
                  <a:pt x="2343405" y="664698"/>
                  <a:pt x="2343405" y="410821"/>
                </a:cubicBezTo>
                <a:cubicBezTo>
                  <a:pt x="2343405" y="158477"/>
                  <a:pt x="2488462" y="758"/>
                  <a:pt x="2734479" y="758"/>
                </a:cubicBezTo>
                <a:close/>
                <a:moveTo>
                  <a:pt x="1178355" y="758"/>
                </a:moveTo>
                <a:cubicBezTo>
                  <a:pt x="1424377" y="758"/>
                  <a:pt x="1567908" y="158477"/>
                  <a:pt x="1567908" y="410821"/>
                </a:cubicBezTo>
                <a:cubicBezTo>
                  <a:pt x="1567908" y="663165"/>
                  <a:pt x="1422850" y="822411"/>
                  <a:pt x="1178355" y="822411"/>
                </a:cubicBezTo>
                <a:cubicBezTo>
                  <a:pt x="933866" y="822411"/>
                  <a:pt x="787282" y="664698"/>
                  <a:pt x="787282" y="410821"/>
                </a:cubicBezTo>
                <a:cubicBezTo>
                  <a:pt x="787282" y="158477"/>
                  <a:pt x="932339" y="758"/>
                  <a:pt x="1178355" y="758"/>
                </a:cubicBezTo>
                <a:close/>
                <a:moveTo>
                  <a:pt x="6183435" y="0"/>
                </a:moveTo>
                <a:cubicBezTo>
                  <a:pt x="6371052" y="0"/>
                  <a:pt x="6486211" y="113513"/>
                  <a:pt x="6492550" y="257038"/>
                </a:cubicBezTo>
                <a:lnTo>
                  <a:pt x="6371052" y="257038"/>
                </a:lnTo>
                <a:cubicBezTo>
                  <a:pt x="6353595" y="257038"/>
                  <a:pt x="6338762" y="244818"/>
                  <a:pt x="6334832" y="227790"/>
                </a:cubicBezTo>
                <a:cubicBezTo>
                  <a:pt x="6318347" y="156735"/>
                  <a:pt x="6270099" y="124535"/>
                  <a:pt x="6183435" y="124535"/>
                </a:cubicBezTo>
                <a:cubicBezTo>
                  <a:pt x="6107692" y="124535"/>
                  <a:pt x="6039894" y="154445"/>
                  <a:pt x="6039894" y="219166"/>
                </a:cubicBezTo>
                <a:cubicBezTo>
                  <a:pt x="6039894" y="297969"/>
                  <a:pt x="6125042" y="324819"/>
                  <a:pt x="6191296" y="339008"/>
                </a:cubicBezTo>
                <a:cubicBezTo>
                  <a:pt x="6336353" y="369025"/>
                  <a:pt x="6514594" y="424144"/>
                  <a:pt x="6514594" y="596046"/>
                </a:cubicBezTo>
                <a:cubicBezTo>
                  <a:pt x="6514594" y="741103"/>
                  <a:pt x="6382085" y="823180"/>
                  <a:pt x="6197635" y="823180"/>
                </a:cubicBezTo>
                <a:cubicBezTo>
                  <a:pt x="6013162" y="823180"/>
                  <a:pt x="5875858" y="723861"/>
                  <a:pt x="5856965" y="555115"/>
                </a:cubicBezTo>
                <a:lnTo>
                  <a:pt x="5857072" y="555115"/>
                </a:lnTo>
                <a:lnTo>
                  <a:pt x="5984672" y="555115"/>
                </a:lnTo>
                <a:cubicBezTo>
                  <a:pt x="6000501" y="555115"/>
                  <a:pt x="6014791" y="565158"/>
                  <a:pt x="6019722" y="580116"/>
                </a:cubicBezTo>
                <a:cubicBezTo>
                  <a:pt x="6045475" y="659461"/>
                  <a:pt x="6112923" y="698538"/>
                  <a:pt x="6194570" y="698538"/>
                </a:cubicBezTo>
                <a:cubicBezTo>
                  <a:pt x="6286040" y="698538"/>
                  <a:pt x="6355461" y="674849"/>
                  <a:pt x="6355461" y="596046"/>
                </a:cubicBezTo>
                <a:cubicBezTo>
                  <a:pt x="6355461" y="517243"/>
                  <a:pt x="6281346" y="501420"/>
                  <a:pt x="6142499" y="471511"/>
                </a:cubicBezTo>
                <a:cubicBezTo>
                  <a:pt x="6017856" y="446301"/>
                  <a:pt x="5883826" y="375353"/>
                  <a:pt x="5883826" y="219166"/>
                </a:cubicBezTo>
                <a:cubicBezTo>
                  <a:pt x="5883826" y="62980"/>
                  <a:pt x="6038373" y="0"/>
                  <a:pt x="6183435" y="0"/>
                </a:cubicBezTo>
                <a:close/>
                <a:moveTo>
                  <a:pt x="5176541" y="0"/>
                </a:moveTo>
                <a:cubicBezTo>
                  <a:pt x="5364181" y="0"/>
                  <a:pt x="5479317" y="113513"/>
                  <a:pt x="5485656" y="257038"/>
                </a:cubicBezTo>
                <a:lnTo>
                  <a:pt x="5364181" y="257038"/>
                </a:lnTo>
                <a:cubicBezTo>
                  <a:pt x="5346724" y="257038"/>
                  <a:pt x="5331868" y="244818"/>
                  <a:pt x="5327937" y="227790"/>
                </a:cubicBezTo>
                <a:cubicBezTo>
                  <a:pt x="5311459" y="156735"/>
                  <a:pt x="5263204" y="124535"/>
                  <a:pt x="5176541" y="124535"/>
                </a:cubicBezTo>
                <a:cubicBezTo>
                  <a:pt x="5100798" y="124535"/>
                  <a:pt x="5033022" y="154445"/>
                  <a:pt x="5033022" y="219166"/>
                </a:cubicBezTo>
                <a:cubicBezTo>
                  <a:pt x="5033022" y="297969"/>
                  <a:pt x="5118147" y="324819"/>
                  <a:pt x="5184401" y="339008"/>
                </a:cubicBezTo>
                <a:cubicBezTo>
                  <a:pt x="5329459" y="369025"/>
                  <a:pt x="5507700" y="424144"/>
                  <a:pt x="5507700" y="596046"/>
                </a:cubicBezTo>
                <a:cubicBezTo>
                  <a:pt x="5507700" y="741103"/>
                  <a:pt x="5375191" y="823180"/>
                  <a:pt x="5190741" y="823180"/>
                </a:cubicBezTo>
                <a:cubicBezTo>
                  <a:pt x="5006268" y="823180"/>
                  <a:pt x="4868964" y="723861"/>
                  <a:pt x="4850093" y="555115"/>
                </a:cubicBezTo>
                <a:lnTo>
                  <a:pt x="4850200" y="555115"/>
                </a:lnTo>
                <a:lnTo>
                  <a:pt x="4977801" y="555115"/>
                </a:lnTo>
                <a:cubicBezTo>
                  <a:pt x="4993612" y="555115"/>
                  <a:pt x="5007919" y="565158"/>
                  <a:pt x="5012828" y="580116"/>
                </a:cubicBezTo>
                <a:cubicBezTo>
                  <a:pt x="5038581" y="659461"/>
                  <a:pt x="5106051" y="698538"/>
                  <a:pt x="5187681" y="698538"/>
                </a:cubicBezTo>
                <a:cubicBezTo>
                  <a:pt x="5279146" y="698538"/>
                  <a:pt x="5348567" y="674849"/>
                  <a:pt x="5348567" y="596046"/>
                </a:cubicBezTo>
                <a:cubicBezTo>
                  <a:pt x="5348567" y="517243"/>
                  <a:pt x="5274452" y="501420"/>
                  <a:pt x="5135627" y="471511"/>
                </a:cubicBezTo>
                <a:cubicBezTo>
                  <a:pt x="5010984" y="446301"/>
                  <a:pt x="4876932" y="375353"/>
                  <a:pt x="4876932" y="219166"/>
                </a:cubicBezTo>
                <a:cubicBezTo>
                  <a:pt x="4876932" y="62980"/>
                  <a:pt x="5031501" y="0"/>
                  <a:pt x="5176541" y="0"/>
                </a:cubicBezTo>
                <a:close/>
              </a:path>
            </a:pathLst>
          </a:custGeom>
          <a:solidFill>
            <a:srgbClr val="EFF1FF"/>
          </a:solidFill>
        </p:spPr>
        <p:txBody>
          <a:bodyPr wrap="square">
            <a:noAutofit/>
          </a:bodyPr>
          <a:lstStyle>
            <a:lvl1pPr marL="0" indent="0">
              <a:buFontTx/>
              <a:buNone/>
              <a:defRPr sz="800">
                <a:noFill/>
              </a:defRPr>
            </a:lvl1pPr>
          </a:lstStyle>
          <a:p>
            <a:pPr lvl="0"/>
            <a:r>
              <a:rPr lang="en-US" dirty="0"/>
              <a:t>1057143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04553C-FDB6-1AF1-85B5-63C23289499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1043999" y="6341361"/>
            <a:ext cx="4525901" cy="1384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D5FDEB-B843-E34A-1166-56F8C0F52D7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C5B20C3-7A07-2F38-CDDB-5C8D6FDC25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1951"/>
            <a:ext cx="5101901" cy="803297"/>
          </a:xfrm>
        </p:spPr>
        <p:txBody>
          <a:bodyPr/>
          <a:lstStyle>
            <a:lvl1pPr>
              <a:defRPr>
                <a:solidFill>
                  <a:srgbClr val="A1B0FF"/>
                </a:solidFill>
              </a:defRPr>
            </a:lvl1pPr>
          </a:lstStyle>
          <a:p>
            <a:r>
              <a:rPr lang="en-GB" dirty="0"/>
              <a:t>Insert agenda title</a:t>
            </a:r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FA8E2825-F365-FDF3-A9BB-62363D97D56E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418262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Shape - Juniper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B17FD6E-EFA3-BAB7-24F0-7A6FF18D0BE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8000" y="1640022"/>
            <a:ext cx="8618850" cy="4354378"/>
          </a:xfrm>
        </p:spPr>
        <p:txBody>
          <a:bodyPr/>
          <a:lstStyle>
            <a:lvl1pPr marL="360000" indent="-360000">
              <a:spcBef>
                <a:spcPts val="1100"/>
              </a:spcBef>
              <a:buClr>
                <a:srgbClr val="A1B0FF"/>
              </a:buClr>
              <a:buFont typeface="+mj-lt"/>
              <a:buAutoNum type="arabicPeriod"/>
              <a:defRPr sz="2100">
                <a:solidFill>
                  <a:srgbClr val="EFF1FF"/>
                </a:solidFill>
              </a:defRPr>
            </a:lvl1pPr>
            <a:lvl2pPr marL="720000" indent="-360000">
              <a:spcBef>
                <a:spcPts val="1100"/>
              </a:spcBef>
              <a:buClr>
                <a:srgbClr val="A1B0FF"/>
              </a:buClr>
              <a:buFont typeface="+mj-lt"/>
              <a:buAutoNum type="alphaLcPeriod"/>
              <a:defRPr sz="2100">
                <a:solidFill>
                  <a:srgbClr val="EFF1FF"/>
                </a:solidFill>
              </a:defRPr>
            </a:lvl2pPr>
            <a:lvl3pPr marL="1080000" indent="-360000">
              <a:spcBef>
                <a:spcPts val="1100"/>
              </a:spcBef>
              <a:buClr>
                <a:srgbClr val="A1B0FF"/>
              </a:buClr>
              <a:buFont typeface="+mj-lt"/>
              <a:buAutoNum type="romanLcPeriod"/>
              <a:defRPr sz="2100">
                <a:solidFill>
                  <a:srgbClr val="EFF1FF"/>
                </a:solidFill>
              </a:defRPr>
            </a:lvl3pPr>
            <a:lvl4pPr marL="1440000" indent="-360000">
              <a:spcBef>
                <a:spcPts val="1100"/>
              </a:spcBef>
              <a:buClr>
                <a:srgbClr val="A1B0FF"/>
              </a:buClr>
              <a:buFont typeface="+mj-lt"/>
              <a:buAutoNum type="arabicPeriod"/>
              <a:defRPr sz="2100">
                <a:solidFill>
                  <a:srgbClr val="EFF1FF"/>
                </a:solidFill>
              </a:defRPr>
            </a:lvl4pPr>
            <a:lvl5pPr marL="1800000" indent="-360000">
              <a:spcBef>
                <a:spcPts val="1100"/>
              </a:spcBef>
              <a:buClr>
                <a:srgbClr val="A1B0FF"/>
              </a:buClr>
              <a:buFont typeface="+mj-lt"/>
              <a:buAutoNum type="alphaLcPeriod"/>
              <a:defRPr sz="2100"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B71178E8-5C1C-9508-2D13-F247DBC96C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white">
          <a:xfrm>
            <a:off x="10742400" y="6350400"/>
            <a:ext cx="982876" cy="124498"/>
          </a:xfrm>
          <a:custGeom>
            <a:avLst/>
            <a:gdLst>
              <a:gd name="connsiteX0" fmla="*/ 3880054 w 6514594"/>
              <a:gd name="connsiteY0" fmla="*/ 421753 h 823180"/>
              <a:gd name="connsiteX1" fmla="*/ 3911313 w 6514594"/>
              <a:gd name="connsiteY1" fmla="*/ 458414 h 823180"/>
              <a:gd name="connsiteX2" fmla="*/ 3911313 w 6514594"/>
              <a:gd name="connsiteY2" fmla="*/ 805825 h 823180"/>
              <a:gd name="connsiteX3" fmla="*/ 3753594 w 6514594"/>
              <a:gd name="connsiteY3" fmla="*/ 805825 h 823180"/>
              <a:gd name="connsiteX4" fmla="*/ 3753594 w 6514594"/>
              <a:gd name="connsiteY4" fmla="*/ 575965 h 823180"/>
              <a:gd name="connsiteX5" fmla="*/ 3753594 w 6514594"/>
              <a:gd name="connsiteY5" fmla="*/ 575858 h 823180"/>
              <a:gd name="connsiteX6" fmla="*/ 3760459 w 6514594"/>
              <a:gd name="connsiteY6" fmla="*/ 554352 h 823180"/>
              <a:gd name="connsiteX7" fmla="*/ 3843956 w 6514594"/>
              <a:gd name="connsiteY7" fmla="*/ 436914 h 823180"/>
              <a:gd name="connsiteX8" fmla="*/ 3863320 w 6514594"/>
              <a:gd name="connsiteY8" fmla="*/ 422761 h 823180"/>
              <a:gd name="connsiteX9" fmla="*/ 3880054 w 6514594"/>
              <a:gd name="connsiteY9" fmla="*/ 421753 h 823180"/>
              <a:gd name="connsiteX10" fmla="*/ 659546 w 6514594"/>
              <a:gd name="connsiteY10" fmla="*/ 421753 h 823180"/>
              <a:gd name="connsiteX11" fmla="*/ 690796 w 6514594"/>
              <a:gd name="connsiteY11" fmla="*/ 458414 h 823180"/>
              <a:gd name="connsiteX12" fmla="*/ 690796 w 6514594"/>
              <a:gd name="connsiteY12" fmla="*/ 805825 h 823180"/>
              <a:gd name="connsiteX13" fmla="*/ 533077 w 6514594"/>
              <a:gd name="connsiteY13" fmla="*/ 805825 h 823180"/>
              <a:gd name="connsiteX14" fmla="*/ 533077 w 6514594"/>
              <a:gd name="connsiteY14" fmla="*/ 575965 h 823180"/>
              <a:gd name="connsiteX15" fmla="*/ 533077 w 6514594"/>
              <a:gd name="connsiteY15" fmla="*/ 575858 h 823180"/>
              <a:gd name="connsiteX16" fmla="*/ 539953 w 6514594"/>
              <a:gd name="connsiteY16" fmla="*/ 554352 h 823180"/>
              <a:gd name="connsiteX17" fmla="*/ 623450 w 6514594"/>
              <a:gd name="connsiteY17" fmla="*/ 436914 h 823180"/>
              <a:gd name="connsiteX18" fmla="*/ 642814 w 6514594"/>
              <a:gd name="connsiteY18" fmla="*/ 422761 h 823180"/>
              <a:gd name="connsiteX19" fmla="*/ 659546 w 6514594"/>
              <a:gd name="connsiteY19" fmla="*/ 421753 h 823180"/>
              <a:gd name="connsiteX20" fmla="*/ 5741899 w 6514594"/>
              <a:gd name="connsiteY20" fmla="*/ 266767 h 823180"/>
              <a:gd name="connsiteX21" fmla="*/ 5773146 w 6514594"/>
              <a:gd name="connsiteY21" fmla="*/ 303432 h 823180"/>
              <a:gd name="connsiteX22" fmla="*/ 5773146 w 6514594"/>
              <a:gd name="connsiteY22" fmla="*/ 805938 h 823180"/>
              <a:gd name="connsiteX23" fmla="*/ 5615427 w 6514594"/>
              <a:gd name="connsiteY23" fmla="*/ 805938 h 823180"/>
              <a:gd name="connsiteX24" fmla="*/ 5615427 w 6514594"/>
              <a:gd name="connsiteY24" fmla="*/ 420876 h 823180"/>
              <a:gd name="connsiteX25" fmla="*/ 5622309 w 6514594"/>
              <a:gd name="connsiteY25" fmla="*/ 399370 h 823180"/>
              <a:gd name="connsiteX26" fmla="*/ 5705806 w 6514594"/>
              <a:gd name="connsiteY26" fmla="*/ 281931 h 823180"/>
              <a:gd name="connsiteX27" fmla="*/ 5725169 w 6514594"/>
              <a:gd name="connsiteY27" fmla="*/ 267776 h 823180"/>
              <a:gd name="connsiteX28" fmla="*/ 5741899 w 6514594"/>
              <a:gd name="connsiteY28" fmla="*/ 266767 h 823180"/>
              <a:gd name="connsiteX29" fmla="*/ 4401173 w 6514594"/>
              <a:gd name="connsiteY29" fmla="*/ 136105 h 823180"/>
              <a:gd name="connsiteX30" fmla="*/ 4164301 w 6514594"/>
              <a:gd name="connsiteY30" fmla="*/ 338244 h 823180"/>
              <a:gd name="connsiteX31" fmla="*/ 4620645 w 6514594"/>
              <a:gd name="connsiteY31" fmla="*/ 338244 h 823180"/>
              <a:gd name="connsiteX32" fmla="*/ 4401173 w 6514594"/>
              <a:gd name="connsiteY32" fmla="*/ 136105 h 823180"/>
              <a:gd name="connsiteX33" fmla="*/ 2734586 w 6514594"/>
              <a:gd name="connsiteY33" fmla="*/ 123766 h 823180"/>
              <a:gd name="connsiteX34" fmla="*/ 2496430 w 6514594"/>
              <a:gd name="connsiteY34" fmla="*/ 410821 h 823180"/>
              <a:gd name="connsiteX35" fmla="*/ 2734586 w 6514594"/>
              <a:gd name="connsiteY35" fmla="*/ 699403 h 823180"/>
              <a:gd name="connsiteX36" fmla="*/ 2971108 w 6514594"/>
              <a:gd name="connsiteY36" fmla="*/ 410821 h 823180"/>
              <a:gd name="connsiteX37" fmla="*/ 2734586 w 6514594"/>
              <a:gd name="connsiteY37" fmla="*/ 123766 h 823180"/>
              <a:gd name="connsiteX38" fmla="*/ 1178468 w 6514594"/>
              <a:gd name="connsiteY38" fmla="*/ 123766 h 823180"/>
              <a:gd name="connsiteX39" fmla="*/ 940307 w 6514594"/>
              <a:gd name="connsiteY39" fmla="*/ 410821 h 823180"/>
              <a:gd name="connsiteX40" fmla="*/ 1178468 w 6514594"/>
              <a:gd name="connsiteY40" fmla="*/ 699403 h 823180"/>
              <a:gd name="connsiteX41" fmla="*/ 1414990 w 6514594"/>
              <a:gd name="connsiteY41" fmla="*/ 410821 h 823180"/>
              <a:gd name="connsiteX42" fmla="*/ 1178468 w 6514594"/>
              <a:gd name="connsiteY42" fmla="*/ 123766 h 823180"/>
              <a:gd name="connsiteX43" fmla="*/ 2185691 w 6514594"/>
              <a:gd name="connsiteY43" fmla="*/ 17462 h 823180"/>
              <a:gd name="connsiteX44" fmla="*/ 2353179 w 6514594"/>
              <a:gd name="connsiteY44" fmla="*/ 17462 h 823180"/>
              <a:gd name="connsiteX45" fmla="*/ 2335657 w 6514594"/>
              <a:gd name="connsiteY45" fmla="*/ 62216 h 823180"/>
              <a:gd name="connsiteX46" fmla="*/ 2043467 w 6514594"/>
              <a:gd name="connsiteY46" fmla="*/ 805830 h 823180"/>
              <a:gd name="connsiteX47" fmla="*/ 1867958 w 6514594"/>
              <a:gd name="connsiteY47" fmla="*/ 805830 h 823180"/>
              <a:gd name="connsiteX48" fmla="*/ 1760558 w 6514594"/>
              <a:gd name="connsiteY48" fmla="*/ 532528 h 823180"/>
              <a:gd name="connsiteX49" fmla="*/ 1764816 w 6514594"/>
              <a:gd name="connsiteY49" fmla="*/ 497489 h 823180"/>
              <a:gd name="connsiteX50" fmla="*/ 1812618 w 6514594"/>
              <a:gd name="connsiteY50" fmla="*/ 430257 h 823180"/>
              <a:gd name="connsiteX51" fmla="*/ 1878001 w 6514594"/>
              <a:gd name="connsiteY51" fmla="*/ 439859 h 823180"/>
              <a:gd name="connsiteX52" fmla="*/ 1922314 w 6514594"/>
              <a:gd name="connsiteY52" fmla="*/ 622573 h 823180"/>
              <a:gd name="connsiteX53" fmla="*/ 1954401 w 6514594"/>
              <a:gd name="connsiteY53" fmla="*/ 653133 h 823180"/>
              <a:gd name="connsiteX54" fmla="*/ 1955277 w 6514594"/>
              <a:gd name="connsiteY54" fmla="*/ 653133 h 823180"/>
              <a:gd name="connsiteX55" fmla="*/ 1987256 w 6514594"/>
              <a:gd name="connsiteY55" fmla="*/ 622573 h 823180"/>
              <a:gd name="connsiteX56" fmla="*/ 2048161 w 6514594"/>
              <a:gd name="connsiteY56" fmla="*/ 392928 h 823180"/>
              <a:gd name="connsiteX57" fmla="*/ 5615427 w 6514594"/>
              <a:gd name="connsiteY57" fmla="*/ 17457 h 823180"/>
              <a:gd name="connsiteX58" fmla="*/ 5773146 w 6514594"/>
              <a:gd name="connsiteY58" fmla="*/ 17457 h 823180"/>
              <a:gd name="connsiteX59" fmla="*/ 5773146 w 6514594"/>
              <a:gd name="connsiteY59" fmla="*/ 83491 h 823180"/>
              <a:gd name="connsiteX60" fmla="*/ 5767587 w 6514594"/>
              <a:gd name="connsiteY60" fmla="*/ 100846 h 823180"/>
              <a:gd name="connsiteX61" fmla="*/ 5682790 w 6514594"/>
              <a:gd name="connsiteY61" fmla="*/ 220359 h 823180"/>
              <a:gd name="connsiteX62" fmla="*/ 5615427 w 6514594"/>
              <a:gd name="connsiteY62" fmla="*/ 198859 h 823180"/>
              <a:gd name="connsiteX63" fmla="*/ 2353221 w 6514594"/>
              <a:gd name="connsiteY63" fmla="*/ 17355 h 823180"/>
              <a:gd name="connsiteX64" fmla="*/ 2353221 w 6514594"/>
              <a:gd name="connsiteY64" fmla="*/ 17462 h 823180"/>
              <a:gd name="connsiteX65" fmla="*/ 2353179 w 6514594"/>
              <a:gd name="connsiteY65" fmla="*/ 17462 h 823180"/>
              <a:gd name="connsiteX66" fmla="*/ 1558181 w 6514594"/>
              <a:gd name="connsiteY66" fmla="*/ 17355 h 823180"/>
              <a:gd name="connsiteX67" fmla="*/ 1727357 w 6514594"/>
              <a:gd name="connsiteY67" fmla="*/ 17355 h 823180"/>
              <a:gd name="connsiteX68" fmla="*/ 1824284 w 6514594"/>
              <a:gd name="connsiteY68" fmla="*/ 289017 h 823180"/>
              <a:gd name="connsiteX69" fmla="*/ 1824392 w 6514594"/>
              <a:gd name="connsiteY69" fmla="*/ 289017 h 823180"/>
              <a:gd name="connsiteX70" fmla="*/ 1819698 w 6514594"/>
              <a:gd name="connsiteY70" fmla="*/ 322964 h 823180"/>
              <a:gd name="connsiteX71" fmla="*/ 1768616 w 6514594"/>
              <a:gd name="connsiteY71" fmla="*/ 395004 h 823180"/>
              <a:gd name="connsiteX72" fmla="*/ 1703787 w 6514594"/>
              <a:gd name="connsiteY72" fmla="*/ 387143 h 823180"/>
              <a:gd name="connsiteX73" fmla="*/ 1558181 w 6514594"/>
              <a:gd name="connsiteY73" fmla="*/ 17355 h 823180"/>
              <a:gd name="connsiteX74" fmla="*/ 4402474 w 6514594"/>
              <a:gd name="connsiteY74" fmla="*/ 3495 h 823180"/>
              <a:gd name="connsiteX75" fmla="*/ 4783402 w 6514594"/>
              <a:gd name="connsiteY75" fmla="*/ 425128 h 823180"/>
              <a:gd name="connsiteX76" fmla="*/ 4783402 w 6514594"/>
              <a:gd name="connsiteY76" fmla="*/ 463000 h 823180"/>
              <a:gd name="connsiteX77" fmla="*/ 4162780 w 6514594"/>
              <a:gd name="connsiteY77" fmla="*/ 463000 h 823180"/>
              <a:gd name="connsiteX78" fmla="*/ 4401173 w 6514594"/>
              <a:gd name="connsiteY78" fmla="*/ 690462 h 823180"/>
              <a:gd name="connsiteX79" fmla="*/ 4601344 w 6514594"/>
              <a:gd name="connsiteY79" fmla="*/ 578040 h 823180"/>
              <a:gd name="connsiteX80" fmla="*/ 4636043 w 6514594"/>
              <a:gd name="connsiteY80" fmla="*/ 555120 h 823180"/>
              <a:gd name="connsiteX81" fmla="*/ 4636043 w 6514594"/>
              <a:gd name="connsiteY81" fmla="*/ 555228 h 823180"/>
              <a:gd name="connsiteX82" fmla="*/ 4771826 w 6514594"/>
              <a:gd name="connsiteY82" fmla="*/ 555228 h 823180"/>
              <a:gd name="connsiteX83" fmla="*/ 4405969 w 6514594"/>
              <a:gd name="connsiteY83" fmla="*/ 823180 h 823180"/>
              <a:gd name="connsiteX84" fmla="*/ 4008013 w 6514594"/>
              <a:gd name="connsiteY84" fmla="*/ 409628 h 823180"/>
              <a:gd name="connsiteX85" fmla="*/ 4402474 w 6514594"/>
              <a:gd name="connsiteY85" fmla="*/ 3495 h 823180"/>
              <a:gd name="connsiteX86" fmla="*/ 3613231 w 6514594"/>
              <a:gd name="connsiteY86" fmla="*/ 1527 h 823180"/>
              <a:gd name="connsiteX87" fmla="*/ 3907060 w 6514594"/>
              <a:gd name="connsiteY87" fmla="*/ 231715 h 823180"/>
              <a:gd name="connsiteX88" fmla="*/ 3900715 w 6514594"/>
              <a:gd name="connsiteY88" fmla="*/ 259770 h 823180"/>
              <a:gd name="connsiteX89" fmla="*/ 3820934 w 6514594"/>
              <a:gd name="connsiteY89" fmla="*/ 372299 h 823180"/>
              <a:gd name="connsiteX90" fmla="*/ 3820827 w 6514594"/>
              <a:gd name="connsiteY90" fmla="*/ 372299 h 823180"/>
              <a:gd name="connsiteX91" fmla="*/ 3753487 w 6514594"/>
              <a:gd name="connsiteY91" fmla="*/ 350799 h 823180"/>
              <a:gd name="connsiteX92" fmla="*/ 3753487 w 6514594"/>
              <a:gd name="connsiteY92" fmla="*/ 315325 h 823180"/>
              <a:gd name="connsiteX93" fmla="*/ 3575246 w 6514594"/>
              <a:gd name="connsiteY93" fmla="*/ 140251 h 823180"/>
              <a:gd name="connsiteX94" fmla="*/ 3388715 w 6514594"/>
              <a:gd name="connsiteY94" fmla="*/ 234667 h 823180"/>
              <a:gd name="connsiteX95" fmla="*/ 3378117 w 6514594"/>
              <a:gd name="connsiteY95" fmla="*/ 267625 h 823180"/>
              <a:gd name="connsiteX96" fmla="*/ 3378117 w 6514594"/>
              <a:gd name="connsiteY96" fmla="*/ 805825 h 823180"/>
              <a:gd name="connsiteX97" fmla="*/ 3220398 w 6514594"/>
              <a:gd name="connsiteY97" fmla="*/ 805825 h 823180"/>
              <a:gd name="connsiteX98" fmla="*/ 3220398 w 6514594"/>
              <a:gd name="connsiteY98" fmla="*/ 17355 h 823180"/>
              <a:gd name="connsiteX99" fmla="*/ 3371795 w 6514594"/>
              <a:gd name="connsiteY99" fmla="*/ 17355 h 823180"/>
              <a:gd name="connsiteX100" fmla="*/ 3338289 w 6514594"/>
              <a:gd name="connsiteY100" fmla="*/ 133595 h 823180"/>
              <a:gd name="connsiteX101" fmla="*/ 3364155 w 6514594"/>
              <a:gd name="connsiteY101" fmla="*/ 173321 h 823180"/>
              <a:gd name="connsiteX102" fmla="*/ 3385763 w 6514594"/>
              <a:gd name="connsiteY102" fmla="*/ 160445 h 823180"/>
              <a:gd name="connsiteX103" fmla="*/ 3613231 w 6514594"/>
              <a:gd name="connsiteY103" fmla="*/ 1527 h 823180"/>
              <a:gd name="connsiteX104" fmla="*/ 392713 w 6514594"/>
              <a:gd name="connsiteY104" fmla="*/ 1527 h 823180"/>
              <a:gd name="connsiteX105" fmla="*/ 686538 w 6514594"/>
              <a:gd name="connsiteY105" fmla="*/ 231715 h 823180"/>
              <a:gd name="connsiteX106" fmla="*/ 680210 w 6514594"/>
              <a:gd name="connsiteY106" fmla="*/ 259770 h 823180"/>
              <a:gd name="connsiteX107" fmla="*/ 600423 w 6514594"/>
              <a:gd name="connsiteY107" fmla="*/ 372299 h 823180"/>
              <a:gd name="connsiteX108" fmla="*/ 533077 w 6514594"/>
              <a:gd name="connsiteY108" fmla="*/ 350799 h 823180"/>
              <a:gd name="connsiteX109" fmla="*/ 533077 w 6514594"/>
              <a:gd name="connsiteY109" fmla="*/ 315325 h 823180"/>
              <a:gd name="connsiteX110" fmla="*/ 354842 w 6514594"/>
              <a:gd name="connsiteY110" fmla="*/ 140251 h 823180"/>
              <a:gd name="connsiteX111" fmla="*/ 168305 w 6514594"/>
              <a:gd name="connsiteY111" fmla="*/ 234667 h 823180"/>
              <a:gd name="connsiteX112" fmla="*/ 157719 w 6514594"/>
              <a:gd name="connsiteY112" fmla="*/ 267625 h 823180"/>
              <a:gd name="connsiteX113" fmla="*/ 157719 w 6514594"/>
              <a:gd name="connsiteY113" fmla="*/ 805825 h 823180"/>
              <a:gd name="connsiteX114" fmla="*/ 0 w 6514594"/>
              <a:gd name="connsiteY114" fmla="*/ 805825 h 823180"/>
              <a:gd name="connsiteX115" fmla="*/ 0 w 6514594"/>
              <a:gd name="connsiteY115" fmla="*/ 17355 h 823180"/>
              <a:gd name="connsiteX116" fmla="*/ 151277 w 6514594"/>
              <a:gd name="connsiteY116" fmla="*/ 17355 h 823180"/>
              <a:gd name="connsiteX117" fmla="*/ 117771 w 6514594"/>
              <a:gd name="connsiteY117" fmla="*/ 133595 h 823180"/>
              <a:gd name="connsiteX118" fmla="*/ 143638 w 6514594"/>
              <a:gd name="connsiteY118" fmla="*/ 173321 h 823180"/>
              <a:gd name="connsiteX119" fmla="*/ 165251 w 6514594"/>
              <a:gd name="connsiteY119" fmla="*/ 160445 h 823180"/>
              <a:gd name="connsiteX120" fmla="*/ 392713 w 6514594"/>
              <a:gd name="connsiteY120" fmla="*/ 1527 h 823180"/>
              <a:gd name="connsiteX121" fmla="*/ 2734479 w 6514594"/>
              <a:gd name="connsiteY121" fmla="*/ 758 h 823180"/>
              <a:gd name="connsiteX122" fmla="*/ 3124025 w 6514594"/>
              <a:gd name="connsiteY122" fmla="*/ 410821 h 823180"/>
              <a:gd name="connsiteX123" fmla="*/ 2734479 w 6514594"/>
              <a:gd name="connsiteY123" fmla="*/ 822411 h 823180"/>
              <a:gd name="connsiteX124" fmla="*/ 2343405 w 6514594"/>
              <a:gd name="connsiteY124" fmla="*/ 410821 h 823180"/>
              <a:gd name="connsiteX125" fmla="*/ 2734479 w 6514594"/>
              <a:gd name="connsiteY125" fmla="*/ 758 h 823180"/>
              <a:gd name="connsiteX126" fmla="*/ 1178355 w 6514594"/>
              <a:gd name="connsiteY126" fmla="*/ 758 h 823180"/>
              <a:gd name="connsiteX127" fmla="*/ 1567908 w 6514594"/>
              <a:gd name="connsiteY127" fmla="*/ 410821 h 823180"/>
              <a:gd name="connsiteX128" fmla="*/ 1178355 w 6514594"/>
              <a:gd name="connsiteY128" fmla="*/ 822411 h 823180"/>
              <a:gd name="connsiteX129" fmla="*/ 787282 w 6514594"/>
              <a:gd name="connsiteY129" fmla="*/ 410821 h 823180"/>
              <a:gd name="connsiteX130" fmla="*/ 1178355 w 6514594"/>
              <a:gd name="connsiteY130" fmla="*/ 758 h 823180"/>
              <a:gd name="connsiteX131" fmla="*/ 6183435 w 6514594"/>
              <a:gd name="connsiteY131" fmla="*/ 0 h 823180"/>
              <a:gd name="connsiteX132" fmla="*/ 6492550 w 6514594"/>
              <a:gd name="connsiteY132" fmla="*/ 257038 h 823180"/>
              <a:gd name="connsiteX133" fmla="*/ 6371052 w 6514594"/>
              <a:gd name="connsiteY133" fmla="*/ 257038 h 823180"/>
              <a:gd name="connsiteX134" fmla="*/ 6334832 w 6514594"/>
              <a:gd name="connsiteY134" fmla="*/ 227790 h 823180"/>
              <a:gd name="connsiteX135" fmla="*/ 6183435 w 6514594"/>
              <a:gd name="connsiteY135" fmla="*/ 124535 h 823180"/>
              <a:gd name="connsiteX136" fmla="*/ 6039894 w 6514594"/>
              <a:gd name="connsiteY136" fmla="*/ 219166 h 823180"/>
              <a:gd name="connsiteX137" fmla="*/ 6191296 w 6514594"/>
              <a:gd name="connsiteY137" fmla="*/ 339008 h 823180"/>
              <a:gd name="connsiteX138" fmla="*/ 6514594 w 6514594"/>
              <a:gd name="connsiteY138" fmla="*/ 596046 h 823180"/>
              <a:gd name="connsiteX139" fmla="*/ 6197635 w 6514594"/>
              <a:gd name="connsiteY139" fmla="*/ 823180 h 823180"/>
              <a:gd name="connsiteX140" fmla="*/ 5856965 w 6514594"/>
              <a:gd name="connsiteY140" fmla="*/ 555115 h 823180"/>
              <a:gd name="connsiteX141" fmla="*/ 5857072 w 6514594"/>
              <a:gd name="connsiteY141" fmla="*/ 555115 h 823180"/>
              <a:gd name="connsiteX142" fmla="*/ 5984672 w 6514594"/>
              <a:gd name="connsiteY142" fmla="*/ 555115 h 823180"/>
              <a:gd name="connsiteX143" fmla="*/ 6019722 w 6514594"/>
              <a:gd name="connsiteY143" fmla="*/ 580116 h 823180"/>
              <a:gd name="connsiteX144" fmla="*/ 6194570 w 6514594"/>
              <a:gd name="connsiteY144" fmla="*/ 698538 h 823180"/>
              <a:gd name="connsiteX145" fmla="*/ 6355461 w 6514594"/>
              <a:gd name="connsiteY145" fmla="*/ 596046 h 823180"/>
              <a:gd name="connsiteX146" fmla="*/ 6142499 w 6514594"/>
              <a:gd name="connsiteY146" fmla="*/ 471511 h 823180"/>
              <a:gd name="connsiteX147" fmla="*/ 5883826 w 6514594"/>
              <a:gd name="connsiteY147" fmla="*/ 219166 h 823180"/>
              <a:gd name="connsiteX148" fmla="*/ 6183435 w 6514594"/>
              <a:gd name="connsiteY148" fmla="*/ 0 h 823180"/>
              <a:gd name="connsiteX149" fmla="*/ 5176541 w 6514594"/>
              <a:gd name="connsiteY149" fmla="*/ 0 h 823180"/>
              <a:gd name="connsiteX150" fmla="*/ 5485656 w 6514594"/>
              <a:gd name="connsiteY150" fmla="*/ 257038 h 823180"/>
              <a:gd name="connsiteX151" fmla="*/ 5364181 w 6514594"/>
              <a:gd name="connsiteY151" fmla="*/ 257038 h 823180"/>
              <a:gd name="connsiteX152" fmla="*/ 5327937 w 6514594"/>
              <a:gd name="connsiteY152" fmla="*/ 227790 h 823180"/>
              <a:gd name="connsiteX153" fmla="*/ 5176541 w 6514594"/>
              <a:gd name="connsiteY153" fmla="*/ 124535 h 823180"/>
              <a:gd name="connsiteX154" fmla="*/ 5033022 w 6514594"/>
              <a:gd name="connsiteY154" fmla="*/ 219166 h 823180"/>
              <a:gd name="connsiteX155" fmla="*/ 5184401 w 6514594"/>
              <a:gd name="connsiteY155" fmla="*/ 339008 h 823180"/>
              <a:gd name="connsiteX156" fmla="*/ 5507700 w 6514594"/>
              <a:gd name="connsiteY156" fmla="*/ 596046 h 823180"/>
              <a:gd name="connsiteX157" fmla="*/ 5190741 w 6514594"/>
              <a:gd name="connsiteY157" fmla="*/ 823180 h 823180"/>
              <a:gd name="connsiteX158" fmla="*/ 4850093 w 6514594"/>
              <a:gd name="connsiteY158" fmla="*/ 555115 h 823180"/>
              <a:gd name="connsiteX159" fmla="*/ 4850200 w 6514594"/>
              <a:gd name="connsiteY159" fmla="*/ 555115 h 823180"/>
              <a:gd name="connsiteX160" fmla="*/ 4977801 w 6514594"/>
              <a:gd name="connsiteY160" fmla="*/ 555115 h 823180"/>
              <a:gd name="connsiteX161" fmla="*/ 5012828 w 6514594"/>
              <a:gd name="connsiteY161" fmla="*/ 580116 h 823180"/>
              <a:gd name="connsiteX162" fmla="*/ 5187681 w 6514594"/>
              <a:gd name="connsiteY162" fmla="*/ 698538 h 823180"/>
              <a:gd name="connsiteX163" fmla="*/ 5348567 w 6514594"/>
              <a:gd name="connsiteY163" fmla="*/ 596046 h 823180"/>
              <a:gd name="connsiteX164" fmla="*/ 5135627 w 6514594"/>
              <a:gd name="connsiteY164" fmla="*/ 471511 h 823180"/>
              <a:gd name="connsiteX165" fmla="*/ 4876932 w 6514594"/>
              <a:gd name="connsiteY165" fmla="*/ 219166 h 823180"/>
              <a:gd name="connsiteX166" fmla="*/ 5176541 w 6514594"/>
              <a:gd name="connsiteY166" fmla="*/ 0 h 82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6514594" h="823180">
                <a:moveTo>
                  <a:pt x="3880054" y="421753"/>
                </a:moveTo>
                <a:cubicBezTo>
                  <a:pt x="3896630" y="424507"/>
                  <a:pt x="3911313" y="438094"/>
                  <a:pt x="3911313" y="458414"/>
                </a:cubicBezTo>
                <a:lnTo>
                  <a:pt x="3911313" y="805825"/>
                </a:lnTo>
                <a:lnTo>
                  <a:pt x="3753594" y="805825"/>
                </a:lnTo>
                <a:lnTo>
                  <a:pt x="3753594" y="575965"/>
                </a:lnTo>
                <a:lnTo>
                  <a:pt x="3753594" y="575858"/>
                </a:lnTo>
                <a:cubicBezTo>
                  <a:pt x="3753594" y="568105"/>
                  <a:pt x="3755986" y="560685"/>
                  <a:pt x="3760459" y="554352"/>
                </a:cubicBezTo>
                <a:lnTo>
                  <a:pt x="3843956" y="436914"/>
                </a:lnTo>
                <a:cubicBezTo>
                  <a:pt x="3849194" y="429546"/>
                  <a:pt x="3856023" y="424949"/>
                  <a:pt x="3863320" y="422761"/>
                </a:cubicBezTo>
                <a:cubicBezTo>
                  <a:pt x="3868793" y="421120"/>
                  <a:pt x="3874528" y="420835"/>
                  <a:pt x="3880054" y="421753"/>
                </a:cubicBezTo>
                <a:close/>
                <a:moveTo>
                  <a:pt x="659546" y="421753"/>
                </a:moveTo>
                <a:cubicBezTo>
                  <a:pt x="676118" y="424507"/>
                  <a:pt x="690796" y="438094"/>
                  <a:pt x="690796" y="458414"/>
                </a:cubicBezTo>
                <a:lnTo>
                  <a:pt x="690796" y="805825"/>
                </a:lnTo>
                <a:lnTo>
                  <a:pt x="533077" y="805825"/>
                </a:lnTo>
                <a:lnTo>
                  <a:pt x="533077" y="575965"/>
                </a:lnTo>
                <a:lnTo>
                  <a:pt x="533077" y="575858"/>
                </a:lnTo>
                <a:cubicBezTo>
                  <a:pt x="533077" y="568105"/>
                  <a:pt x="535480" y="560685"/>
                  <a:pt x="539953" y="554352"/>
                </a:cubicBezTo>
                <a:lnTo>
                  <a:pt x="623450" y="436914"/>
                </a:lnTo>
                <a:cubicBezTo>
                  <a:pt x="628689" y="429546"/>
                  <a:pt x="635518" y="424949"/>
                  <a:pt x="642814" y="422761"/>
                </a:cubicBezTo>
                <a:cubicBezTo>
                  <a:pt x="648286" y="421120"/>
                  <a:pt x="654021" y="420835"/>
                  <a:pt x="659546" y="421753"/>
                </a:cubicBezTo>
                <a:close/>
                <a:moveTo>
                  <a:pt x="5741899" y="266767"/>
                </a:moveTo>
                <a:cubicBezTo>
                  <a:pt x="5758470" y="269521"/>
                  <a:pt x="5773146" y="283109"/>
                  <a:pt x="5773146" y="303432"/>
                </a:cubicBezTo>
                <a:lnTo>
                  <a:pt x="5773146" y="805938"/>
                </a:lnTo>
                <a:lnTo>
                  <a:pt x="5615427" y="805938"/>
                </a:lnTo>
                <a:lnTo>
                  <a:pt x="5615427" y="420876"/>
                </a:lnTo>
                <a:cubicBezTo>
                  <a:pt x="5615427" y="413123"/>
                  <a:pt x="5617836" y="405703"/>
                  <a:pt x="5622309" y="399370"/>
                </a:cubicBezTo>
                <a:lnTo>
                  <a:pt x="5705806" y="281931"/>
                </a:lnTo>
                <a:cubicBezTo>
                  <a:pt x="5711045" y="274563"/>
                  <a:pt x="5717874" y="269964"/>
                  <a:pt x="5725169" y="267776"/>
                </a:cubicBezTo>
                <a:cubicBezTo>
                  <a:pt x="5730641" y="266134"/>
                  <a:pt x="5736375" y="265849"/>
                  <a:pt x="5741899" y="266767"/>
                </a:cubicBezTo>
                <a:close/>
                <a:moveTo>
                  <a:pt x="4401173" y="136105"/>
                </a:moveTo>
                <a:cubicBezTo>
                  <a:pt x="4266906" y="136105"/>
                  <a:pt x="4176849" y="234011"/>
                  <a:pt x="4164301" y="338244"/>
                </a:cubicBezTo>
                <a:lnTo>
                  <a:pt x="4620645" y="338244"/>
                </a:lnTo>
                <a:cubicBezTo>
                  <a:pt x="4608096" y="246672"/>
                  <a:pt x="4536933" y="136105"/>
                  <a:pt x="4401173" y="136105"/>
                </a:cubicBezTo>
                <a:close/>
                <a:moveTo>
                  <a:pt x="2734586" y="123766"/>
                </a:moveTo>
                <a:cubicBezTo>
                  <a:pt x="2581685" y="123766"/>
                  <a:pt x="2496430" y="249941"/>
                  <a:pt x="2496430" y="410821"/>
                </a:cubicBezTo>
                <a:cubicBezTo>
                  <a:pt x="2496430" y="571701"/>
                  <a:pt x="2578406" y="699403"/>
                  <a:pt x="2734586" y="699403"/>
                </a:cubicBezTo>
                <a:cubicBezTo>
                  <a:pt x="2890784" y="699403"/>
                  <a:pt x="2971108" y="571701"/>
                  <a:pt x="2971108" y="410821"/>
                </a:cubicBezTo>
                <a:cubicBezTo>
                  <a:pt x="2971108" y="249941"/>
                  <a:pt x="2887504" y="123766"/>
                  <a:pt x="2734586" y="123766"/>
                </a:cubicBezTo>
                <a:close/>
                <a:moveTo>
                  <a:pt x="1178468" y="123766"/>
                </a:moveTo>
                <a:cubicBezTo>
                  <a:pt x="1025551" y="123766"/>
                  <a:pt x="940307" y="249941"/>
                  <a:pt x="940307" y="410821"/>
                </a:cubicBezTo>
                <a:cubicBezTo>
                  <a:pt x="940307" y="571701"/>
                  <a:pt x="1022276" y="699403"/>
                  <a:pt x="1178468" y="699403"/>
                </a:cubicBezTo>
                <a:cubicBezTo>
                  <a:pt x="1334660" y="699403"/>
                  <a:pt x="1414990" y="571701"/>
                  <a:pt x="1414990" y="410821"/>
                </a:cubicBezTo>
                <a:cubicBezTo>
                  <a:pt x="1414990" y="249941"/>
                  <a:pt x="1331380" y="123766"/>
                  <a:pt x="1178468" y="123766"/>
                </a:cubicBezTo>
                <a:close/>
                <a:moveTo>
                  <a:pt x="2185691" y="17462"/>
                </a:moveTo>
                <a:lnTo>
                  <a:pt x="2353179" y="17462"/>
                </a:lnTo>
                <a:lnTo>
                  <a:pt x="2335657" y="62216"/>
                </a:lnTo>
                <a:lnTo>
                  <a:pt x="2043467" y="805830"/>
                </a:lnTo>
                <a:lnTo>
                  <a:pt x="1867958" y="805830"/>
                </a:lnTo>
                <a:lnTo>
                  <a:pt x="1760558" y="532528"/>
                </a:lnTo>
                <a:cubicBezTo>
                  <a:pt x="1755971" y="520850"/>
                  <a:pt x="1757611" y="507640"/>
                  <a:pt x="1764816" y="497489"/>
                </a:cubicBezTo>
                <a:lnTo>
                  <a:pt x="1812618" y="430257"/>
                </a:lnTo>
                <a:cubicBezTo>
                  <a:pt x="1830194" y="405590"/>
                  <a:pt x="1868286" y="411047"/>
                  <a:pt x="1878001" y="439859"/>
                </a:cubicBezTo>
                <a:cubicBezTo>
                  <a:pt x="1896448" y="494651"/>
                  <a:pt x="1919255" y="570943"/>
                  <a:pt x="1922314" y="622573"/>
                </a:cubicBezTo>
                <a:cubicBezTo>
                  <a:pt x="1923298" y="639708"/>
                  <a:pt x="1937158" y="653133"/>
                  <a:pt x="1954401" y="653133"/>
                </a:cubicBezTo>
                <a:lnTo>
                  <a:pt x="1955277" y="653133"/>
                </a:lnTo>
                <a:cubicBezTo>
                  <a:pt x="1972412" y="653133"/>
                  <a:pt x="1986272" y="639600"/>
                  <a:pt x="1987256" y="622573"/>
                </a:cubicBezTo>
                <a:cubicBezTo>
                  <a:pt x="1992385" y="533834"/>
                  <a:pt x="2019671" y="471075"/>
                  <a:pt x="2048161" y="392928"/>
                </a:cubicBezTo>
                <a:close/>
                <a:moveTo>
                  <a:pt x="5615427" y="17457"/>
                </a:moveTo>
                <a:lnTo>
                  <a:pt x="5773146" y="17457"/>
                </a:lnTo>
                <a:lnTo>
                  <a:pt x="5773146" y="83491"/>
                </a:lnTo>
                <a:cubicBezTo>
                  <a:pt x="5773146" y="89711"/>
                  <a:pt x="5771189" y="95824"/>
                  <a:pt x="5767587" y="100846"/>
                </a:cubicBezTo>
                <a:lnTo>
                  <a:pt x="5682790" y="220359"/>
                </a:lnTo>
                <a:cubicBezTo>
                  <a:pt x="5661940" y="249828"/>
                  <a:pt x="5615427" y="234983"/>
                  <a:pt x="5615427" y="198859"/>
                </a:cubicBezTo>
                <a:close/>
                <a:moveTo>
                  <a:pt x="2353221" y="17355"/>
                </a:moveTo>
                <a:lnTo>
                  <a:pt x="2353221" y="17462"/>
                </a:lnTo>
                <a:lnTo>
                  <a:pt x="2353179" y="17462"/>
                </a:lnTo>
                <a:close/>
                <a:moveTo>
                  <a:pt x="1558181" y="17355"/>
                </a:moveTo>
                <a:lnTo>
                  <a:pt x="1727357" y="17355"/>
                </a:lnTo>
                <a:lnTo>
                  <a:pt x="1824284" y="289017"/>
                </a:lnTo>
                <a:lnTo>
                  <a:pt x="1824392" y="289017"/>
                </a:lnTo>
                <a:cubicBezTo>
                  <a:pt x="1828429" y="300373"/>
                  <a:pt x="1826682" y="313142"/>
                  <a:pt x="1819698" y="322964"/>
                </a:cubicBezTo>
                <a:lnTo>
                  <a:pt x="1768616" y="395004"/>
                </a:lnTo>
                <a:cubicBezTo>
                  <a:pt x="1751589" y="419015"/>
                  <a:pt x="1714588" y="414536"/>
                  <a:pt x="1703787" y="387143"/>
                </a:cubicBezTo>
                <a:cubicBezTo>
                  <a:pt x="1654232" y="261189"/>
                  <a:pt x="1558181" y="17355"/>
                  <a:pt x="1558181" y="17355"/>
                </a:cubicBezTo>
                <a:close/>
                <a:moveTo>
                  <a:pt x="4402474" y="3495"/>
                </a:moveTo>
                <a:cubicBezTo>
                  <a:pt x="4661146" y="2296"/>
                  <a:pt x="4783402" y="230408"/>
                  <a:pt x="4783402" y="425128"/>
                </a:cubicBezTo>
                <a:lnTo>
                  <a:pt x="4783402" y="463000"/>
                </a:lnTo>
                <a:lnTo>
                  <a:pt x="4162780" y="463000"/>
                </a:lnTo>
                <a:cubicBezTo>
                  <a:pt x="4162780" y="530889"/>
                  <a:pt x="4217894" y="690462"/>
                  <a:pt x="4401173" y="690462"/>
                </a:cubicBezTo>
                <a:cubicBezTo>
                  <a:pt x="4519256" y="690462"/>
                  <a:pt x="4575026" y="644509"/>
                  <a:pt x="4601344" y="578040"/>
                </a:cubicBezTo>
                <a:cubicBezTo>
                  <a:pt x="4606903" y="563959"/>
                  <a:pt x="4620973" y="555120"/>
                  <a:pt x="4636043" y="555120"/>
                </a:cubicBezTo>
                <a:lnTo>
                  <a:pt x="4636043" y="555228"/>
                </a:lnTo>
                <a:lnTo>
                  <a:pt x="4771826" y="555228"/>
                </a:lnTo>
                <a:cubicBezTo>
                  <a:pt x="4746723" y="694607"/>
                  <a:pt x="4615742" y="823180"/>
                  <a:pt x="4405969" y="823180"/>
                </a:cubicBezTo>
                <a:cubicBezTo>
                  <a:pt x="4168011" y="823180"/>
                  <a:pt x="4008776" y="667542"/>
                  <a:pt x="4008013" y="409628"/>
                </a:cubicBezTo>
                <a:cubicBezTo>
                  <a:pt x="4007363" y="189370"/>
                  <a:pt x="4182216" y="4479"/>
                  <a:pt x="4402474" y="3495"/>
                </a:cubicBezTo>
                <a:close/>
                <a:moveTo>
                  <a:pt x="3613231" y="1527"/>
                </a:moveTo>
                <a:cubicBezTo>
                  <a:pt x="3740045" y="1527"/>
                  <a:pt x="3881064" y="72362"/>
                  <a:pt x="3907060" y="231715"/>
                </a:cubicBezTo>
                <a:cubicBezTo>
                  <a:pt x="3908576" y="241538"/>
                  <a:pt x="3906518" y="251689"/>
                  <a:pt x="3900715" y="259770"/>
                </a:cubicBezTo>
                <a:lnTo>
                  <a:pt x="3820934" y="372299"/>
                </a:lnTo>
                <a:lnTo>
                  <a:pt x="3820827" y="372299"/>
                </a:lnTo>
                <a:cubicBezTo>
                  <a:pt x="3799982" y="401768"/>
                  <a:pt x="3753487" y="386923"/>
                  <a:pt x="3753487" y="350799"/>
                </a:cubicBezTo>
                <a:lnTo>
                  <a:pt x="3753487" y="315325"/>
                </a:lnTo>
                <a:cubicBezTo>
                  <a:pt x="3753487" y="197118"/>
                  <a:pt x="3685694" y="140251"/>
                  <a:pt x="3575246" y="140251"/>
                </a:cubicBezTo>
                <a:cubicBezTo>
                  <a:pt x="3496008" y="140251"/>
                  <a:pt x="3428537" y="179762"/>
                  <a:pt x="3388715" y="234667"/>
                </a:cubicBezTo>
                <a:cubicBezTo>
                  <a:pt x="3381719" y="244269"/>
                  <a:pt x="3378117" y="255839"/>
                  <a:pt x="3378117" y="267625"/>
                </a:cubicBezTo>
                <a:lnTo>
                  <a:pt x="3378117" y="805825"/>
                </a:lnTo>
                <a:lnTo>
                  <a:pt x="3220398" y="805825"/>
                </a:lnTo>
                <a:lnTo>
                  <a:pt x="3220398" y="17355"/>
                </a:lnTo>
                <a:lnTo>
                  <a:pt x="3371795" y="17355"/>
                </a:lnTo>
                <a:cubicBezTo>
                  <a:pt x="3371795" y="59044"/>
                  <a:pt x="3355859" y="100739"/>
                  <a:pt x="3338289" y="133595"/>
                </a:cubicBezTo>
                <a:cubicBezTo>
                  <a:pt x="3328234" y="152041"/>
                  <a:pt x="3342654" y="174633"/>
                  <a:pt x="3364155" y="173321"/>
                </a:cubicBezTo>
                <a:cubicBezTo>
                  <a:pt x="3372994" y="172778"/>
                  <a:pt x="3380747" y="167649"/>
                  <a:pt x="3385763" y="160445"/>
                </a:cubicBezTo>
                <a:cubicBezTo>
                  <a:pt x="3424828" y="103798"/>
                  <a:pt x="3486388" y="1527"/>
                  <a:pt x="3613231" y="1527"/>
                </a:cubicBezTo>
                <a:close/>
                <a:moveTo>
                  <a:pt x="392713" y="1527"/>
                </a:moveTo>
                <a:cubicBezTo>
                  <a:pt x="519544" y="1527"/>
                  <a:pt x="660564" y="72362"/>
                  <a:pt x="686538" y="231715"/>
                </a:cubicBezTo>
                <a:cubicBezTo>
                  <a:pt x="688064" y="241538"/>
                  <a:pt x="685995" y="251689"/>
                  <a:pt x="680210" y="259770"/>
                </a:cubicBezTo>
                <a:lnTo>
                  <a:pt x="600423" y="372299"/>
                </a:lnTo>
                <a:cubicBezTo>
                  <a:pt x="579573" y="401768"/>
                  <a:pt x="533077" y="386923"/>
                  <a:pt x="533077" y="350799"/>
                </a:cubicBezTo>
                <a:lnTo>
                  <a:pt x="533077" y="315325"/>
                </a:lnTo>
                <a:cubicBezTo>
                  <a:pt x="533077" y="197118"/>
                  <a:pt x="465296" y="140251"/>
                  <a:pt x="354842" y="140251"/>
                </a:cubicBezTo>
                <a:cubicBezTo>
                  <a:pt x="275598" y="140251"/>
                  <a:pt x="208144" y="179762"/>
                  <a:pt x="168305" y="234667"/>
                </a:cubicBezTo>
                <a:cubicBezTo>
                  <a:pt x="161321" y="244269"/>
                  <a:pt x="157719" y="255839"/>
                  <a:pt x="157719" y="267625"/>
                </a:cubicBezTo>
                <a:lnTo>
                  <a:pt x="157719" y="805825"/>
                </a:lnTo>
                <a:lnTo>
                  <a:pt x="0" y="805825"/>
                </a:lnTo>
                <a:lnTo>
                  <a:pt x="0" y="17355"/>
                </a:lnTo>
                <a:lnTo>
                  <a:pt x="151277" y="17355"/>
                </a:lnTo>
                <a:cubicBezTo>
                  <a:pt x="151277" y="59044"/>
                  <a:pt x="135342" y="100739"/>
                  <a:pt x="117771" y="133595"/>
                </a:cubicBezTo>
                <a:cubicBezTo>
                  <a:pt x="107728" y="152041"/>
                  <a:pt x="122137" y="174633"/>
                  <a:pt x="143638" y="173321"/>
                </a:cubicBezTo>
                <a:cubicBezTo>
                  <a:pt x="152476" y="172778"/>
                  <a:pt x="160229" y="167649"/>
                  <a:pt x="165251" y="160445"/>
                </a:cubicBezTo>
                <a:cubicBezTo>
                  <a:pt x="204322" y="103798"/>
                  <a:pt x="265882" y="1527"/>
                  <a:pt x="392713" y="1527"/>
                </a:cubicBezTo>
                <a:close/>
                <a:moveTo>
                  <a:pt x="2734479" y="758"/>
                </a:moveTo>
                <a:cubicBezTo>
                  <a:pt x="2980512" y="758"/>
                  <a:pt x="3124025" y="158477"/>
                  <a:pt x="3124025" y="410821"/>
                </a:cubicBezTo>
                <a:cubicBezTo>
                  <a:pt x="3124025" y="663165"/>
                  <a:pt x="2978968" y="822411"/>
                  <a:pt x="2734479" y="822411"/>
                </a:cubicBezTo>
                <a:cubicBezTo>
                  <a:pt x="2490006" y="822411"/>
                  <a:pt x="2343405" y="664698"/>
                  <a:pt x="2343405" y="410821"/>
                </a:cubicBezTo>
                <a:cubicBezTo>
                  <a:pt x="2343405" y="158477"/>
                  <a:pt x="2488462" y="758"/>
                  <a:pt x="2734479" y="758"/>
                </a:cubicBezTo>
                <a:close/>
                <a:moveTo>
                  <a:pt x="1178355" y="758"/>
                </a:moveTo>
                <a:cubicBezTo>
                  <a:pt x="1424377" y="758"/>
                  <a:pt x="1567908" y="158477"/>
                  <a:pt x="1567908" y="410821"/>
                </a:cubicBezTo>
                <a:cubicBezTo>
                  <a:pt x="1567908" y="663165"/>
                  <a:pt x="1422850" y="822411"/>
                  <a:pt x="1178355" y="822411"/>
                </a:cubicBezTo>
                <a:cubicBezTo>
                  <a:pt x="933866" y="822411"/>
                  <a:pt x="787282" y="664698"/>
                  <a:pt x="787282" y="410821"/>
                </a:cubicBezTo>
                <a:cubicBezTo>
                  <a:pt x="787282" y="158477"/>
                  <a:pt x="932339" y="758"/>
                  <a:pt x="1178355" y="758"/>
                </a:cubicBezTo>
                <a:close/>
                <a:moveTo>
                  <a:pt x="6183435" y="0"/>
                </a:moveTo>
                <a:cubicBezTo>
                  <a:pt x="6371052" y="0"/>
                  <a:pt x="6486211" y="113513"/>
                  <a:pt x="6492550" y="257038"/>
                </a:cubicBezTo>
                <a:lnTo>
                  <a:pt x="6371052" y="257038"/>
                </a:lnTo>
                <a:cubicBezTo>
                  <a:pt x="6353595" y="257038"/>
                  <a:pt x="6338762" y="244818"/>
                  <a:pt x="6334832" y="227790"/>
                </a:cubicBezTo>
                <a:cubicBezTo>
                  <a:pt x="6318347" y="156735"/>
                  <a:pt x="6270099" y="124535"/>
                  <a:pt x="6183435" y="124535"/>
                </a:cubicBezTo>
                <a:cubicBezTo>
                  <a:pt x="6107692" y="124535"/>
                  <a:pt x="6039894" y="154445"/>
                  <a:pt x="6039894" y="219166"/>
                </a:cubicBezTo>
                <a:cubicBezTo>
                  <a:pt x="6039894" y="297969"/>
                  <a:pt x="6125042" y="324819"/>
                  <a:pt x="6191296" y="339008"/>
                </a:cubicBezTo>
                <a:cubicBezTo>
                  <a:pt x="6336353" y="369025"/>
                  <a:pt x="6514594" y="424144"/>
                  <a:pt x="6514594" y="596046"/>
                </a:cubicBezTo>
                <a:cubicBezTo>
                  <a:pt x="6514594" y="741103"/>
                  <a:pt x="6382085" y="823180"/>
                  <a:pt x="6197635" y="823180"/>
                </a:cubicBezTo>
                <a:cubicBezTo>
                  <a:pt x="6013162" y="823180"/>
                  <a:pt x="5875858" y="723861"/>
                  <a:pt x="5856965" y="555115"/>
                </a:cubicBezTo>
                <a:lnTo>
                  <a:pt x="5857072" y="555115"/>
                </a:lnTo>
                <a:lnTo>
                  <a:pt x="5984672" y="555115"/>
                </a:lnTo>
                <a:cubicBezTo>
                  <a:pt x="6000501" y="555115"/>
                  <a:pt x="6014791" y="565158"/>
                  <a:pt x="6019722" y="580116"/>
                </a:cubicBezTo>
                <a:cubicBezTo>
                  <a:pt x="6045475" y="659461"/>
                  <a:pt x="6112923" y="698538"/>
                  <a:pt x="6194570" y="698538"/>
                </a:cubicBezTo>
                <a:cubicBezTo>
                  <a:pt x="6286040" y="698538"/>
                  <a:pt x="6355461" y="674849"/>
                  <a:pt x="6355461" y="596046"/>
                </a:cubicBezTo>
                <a:cubicBezTo>
                  <a:pt x="6355461" y="517243"/>
                  <a:pt x="6281346" y="501420"/>
                  <a:pt x="6142499" y="471511"/>
                </a:cubicBezTo>
                <a:cubicBezTo>
                  <a:pt x="6017856" y="446301"/>
                  <a:pt x="5883826" y="375353"/>
                  <a:pt x="5883826" y="219166"/>
                </a:cubicBezTo>
                <a:cubicBezTo>
                  <a:pt x="5883826" y="62980"/>
                  <a:pt x="6038373" y="0"/>
                  <a:pt x="6183435" y="0"/>
                </a:cubicBezTo>
                <a:close/>
                <a:moveTo>
                  <a:pt x="5176541" y="0"/>
                </a:moveTo>
                <a:cubicBezTo>
                  <a:pt x="5364181" y="0"/>
                  <a:pt x="5479317" y="113513"/>
                  <a:pt x="5485656" y="257038"/>
                </a:cubicBezTo>
                <a:lnTo>
                  <a:pt x="5364181" y="257038"/>
                </a:lnTo>
                <a:cubicBezTo>
                  <a:pt x="5346724" y="257038"/>
                  <a:pt x="5331868" y="244818"/>
                  <a:pt x="5327937" y="227790"/>
                </a:cubicBezTo>
                <a:cubicBezTo>
                  <a:pt x="5311459" y="156735"/>
                  <a:pt x="5263204" y="124535"/>
                  <a:pt x="5176541" y="124535"/>
                </a:cubicBezTo>
                <a:cubicBezTo>
                  <a:pt x="5100798" y="124535"/>
                  <a:pt x="5033022" y="154445"/>
                  <a:pt x="5033022" y="219166"/>
                </a:cubicBezTo>
                <a:cubicBezTo>
                  <a:pt x="5033022" y="297969"/>
                  <a:pt x="5118147" y="324819"/>
                  <a:pt x="5184401" y="339008"/>
                </a:cubicBezTo>
                <a:cubicBezTo>
                  <a:pt x="5329459" y="369025"/>
                  <a:pt x="5507700" y="424144"/>
                  <a:pt x="5507700" y="596046"/>
                </a:cubicBezTo>
                <a:cubicBezTo>
                  <a:pt x="5507700" y="741103"/>
                  <a:pt x="5375191" y="823180"/>
                  <a:pt x="5190741" y="823180"/>
                </a:cubicBezTo>
                <a:cubicBezTo>
                  <a:pt x="5006268" y="823180"/>
                  <a:pt x="4868964" y="723861"/>
                  <a:pt x="4850093" y="555115"/>
                </a:cubicBezTo>
                <a:lnTo>
                  <a:pt x="4850200" y="555115"/>
                </a:lnTo>
                <a:lnTo>
                  <a:pt x="4977801" y="555115"/>
                </a:lnTo>
                <a:cubicBezTo>
                  <a:pt x="4993612" y="555115"/>
                  <a:pt x="5007919" y="565158"/>
                  <a:pt x="5012828" y="580116"/>
                </a:cubicBezTo>
                <a:cubicBezTo>
                  <a:pt x="5038581" y="659461"/>
                  <a:pt x="5106051" y="698538"/>
                  <a:pt x="5187681" y="698538"/>
                </a:cubicBezTo>
                <a:cubicBezTo>
                  <a:pt x="5279146" y="698538"/>
                  <a:pt x="5348567" y="674849"/>
                  <a:pt x="5348567" y="596046"/>
                </a:cubicBezTo>
                <a:cubicBezTo>
                  <a:pt x="5348567" y="517243"/>
                  <a:pt x="5274452" y="501420"/>
                  <a:pt x="5135627" y="471511"/>
                </a:cubicBezTo>
                <a:cubicBezTo>
                  <a:pt x="5010984" y="446301"/>
                  <a:pt x="4876932" y="375353"/>
                  <a:pt x="4876932" y="219166"/>
                </a:cubicBezTo>
                <a:cubicBezTo>
                  <a:pt x="4876932" y="62980"/>
                  <a:pt x="5031501" y="0"/>
                  <a:pt x="5176541" y="0"/>
                </a:cubicBezTo>
                <a:close/>
              </a:path>
            </a:pathLst>
          </a:custGeom>
          <a:solidFill>
            <a:srgbClr val="EFF1FF"/>
          </a:solidFill>
        </p:spPr>
        <p:txBody>
          <a:bodyPr wrap="square">
            <a:noAutofit/>
          </a:bodyPr>
          <a:lstStyle>
            <a:lvl1pPr marL="0" indent="0">
              <a:buFontTx/>
              <a:buNone/>
              <a:defRPr sz="800">
                <a:noFill/>
              </a:defRPr>
            </a:lvl1pPr>
          </a:lstStyle>
          <a:p>
            <a:pPr lvl="0"/>
            <a:r>
              <a:rPr lang="en-US" dirty="0"/>
              <a:t>10571432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EEA8D0C-AB76-C288-75BF-72E6AF9842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9073754" y="-10720"/>
            <a:ext cx="3120629" cy="687812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7B1306-BCFD-B94B-3463-14ED240C160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AA5EE5-6E1A-DDA3-1CD7-64964B1156C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2856A6E-CAFC-B567-38C5-3AE248E4AA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1951"/>
            <a:ext cx="8629650" cy="803297"/>
          </a:xfrm>
        </p:spPr>
        <p:txBody>
          <a:bodyPr/>
          <a:lstStyle>
            <a:lvl1pPr>
              <a:defRPr>
                <a:solidFill>
                  <a:srgbClr val="A1B0FF"/>
                </a:solidFill>
              </a:defRPr>
            </a:lvl1pPr>
          </a:lstStyle>
          <a:p>
            <a:r>
              <a:rPr lang="en-GB" dirty="0"/>
              <a:t>Insert agenda title</a:t>
            </a:r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ACD5A5A7-10A5-F45D-518C-DE89B94B8F49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0795282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content - Lilac">
    <p:bg>
      <p:bgPr>
        <a:solidFill>
          <a:srgbClr val="EFF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D8A9E-9638-C71F-CB8F-4E16DB0C6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F8D94-A388-46C3-0C48-D76A83B61F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F51E3-AC28-6182-0248-C07BD511F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0D5198A-3800-D0B3-184A-F7D437A2F4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313" y="1808163"/>
            <a:ext cx="5513387" cy="4186238"/>
          </a:xfrm>
        </p:spPr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  <a:lvl2pPr>
              <a:defRPr>
                <a:solidFill>
                  <a:srgbClr val="263140"/>
                </a:solidFill>
              </a:defRPr>
            </a:lvl2pPr>
            <a:lvl3pPr>
              <a:defRPr>
                <a:solidFill>
                  <a:srgbClr val="263140"/>
                </a:solidFill>
              </a:defRPr>
            </a:lvl3pPr>
            <a:lvl4pPr>
              <a:defRPr>
                <a:solidFill>
                  <a:srgbClr val="263140"/>
                </a:solidFill>
              </a:defRPr>
            </a:lvl4pPr>
            <a:lvl5pPr>
              <a:defRPr>
                <a:solidFill>
                  <a:srgbClr val="263140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75177972-E5EA-DC88-1410-152E9CC757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21413" y="1808163"/>
            <a:ext cx="5513387" cy="4186238"/>
          </a:xfrm>
        </p:spPr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  <a:lvl2pPr>
              <a:defRPr>
                <a:solidFill>
                  <a:srgbClr val="263140"/>
                </a:solidFill>
              </a:defRPr>
            </a:lvl2pPr>
            <a:lvl3pPr>
              <a:defRPr>
                <a:solidFill>
                  <a:srgbClr val="263140"/>
                </a:solidFill>
              </a:defRPr>
            </a:lvl3pPr>
            <a:lvl4pPr>
              <a:defRPr>
                <a:solidFill>
                  <a:srgbClr val="263140"/>
                </a:solidFill>
              </a:defRPr>
            </a:lvl4pPr>
            <a:lvl5pPr>
              <a:defRPr>
                <a:solidFill>
                  <a:srgbClr val="263140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96C3AD81-1E76-656D-3D1D-E112F94123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400"/>
            <a:ext cx="982876" cy="124498"/>
          </a:xfrm>
          <a:prstGeom prst="rect">
            <a:avLst/>
          </a:prstGeom>
        </p:spPr>
      </p:pic>
      <p:sp>
        <p:nvSpPr>
          <p:cNvPr id="4" name="Copyright">
            <a:extLst>
              <a:ext uri="{FF2B5EF4-FFF2-40B4-BE49-F238E27FC236}">
                <a16:creationId xmlns:a16="http://schemas.microsoft.com/office/drawing/2014/main" id="{C7E82988-4B24-E87B-E781-88C1A1EB3E59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263140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263140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263140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67035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63;p13">
            <a:extLst>
              <a:ext uri="{FF2B5EF4-FFF2-40B4-BE49-F238E27FC236}">
                <a16:creationId xmlns:a16="http://schemas.microsoft.com/office/drawing/2014/main" id="{852A5B6C-B5D1-92F5-513E-DA8E8ACCB1C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25211"/>
          <a:stretch/>
        </p:blipFill>
        <p:spPr>
          <a:xfrm>
            <a:off x="0" y="-3"/>
            <a:ext cx="9144003" cy="737975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988AD26-9ACF-74E9-AB7B-9FCD3846C70D}"/>
              </a:ext>
            </a:extLst>
          </p:cNvPr>
          <p:cNvSpPr txBox="1"/>
          <p:nvPr userDrawn="1"/>
        </p:nvSpPr>
        <p:spPr>
          <a:xfrm>
            <a:off x="209550" y="914400"/>
            <a:ext cx="115480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ORTANT REMINDER</a:t>
            </a:r>
            <a:endParaRPr lang="de-DE" sz="32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743E992-1219-ABB4-22BF-3955EB4E7689}"/>
              </a:ext>
            </a:extLst>
          </p:cNvPr>
          <p:cNvSpPr txBox="1"/>
          <p:nvPr userDrawn="1"/>
        </p:nvSpPr>
        <p:spPr>
          <a:xfrm>
            <a:off x="238125" y="2003519"/>
            <a:ext cx="11633824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 fontAlgn="base">
              <a:spcBef>
                <a:spcPts val="0"/>
              </a:spcBef>
              <a:spcAft>
                <a:spcPts val="1200"/>
              </a:spcAft>
            </a:pPr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king part in WSPD sessions is subject to you being familiar with </a:t>
            </a:r>
            <a:r>
              <a:rPr lang="en-GB" sz="20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ti-trust</a:t>
            </a:r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ssues and how to avoid them. </a:t>
            </a:r>
            <a:r>
              <a:rPr lang="en-US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 must all refrain from entering into any discussion, activity or conduct that may infringe any applicable competition law. </a:t>
            </a:r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ease find below some </a:t>
            </a:r>
            <a:r>
              <a:rPr lang="en-GB" sz="20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y rules </a:t>
            </a:r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at apply throughout the event:</a:t>
            </a:r>
          </a:p>
          <a:p>
            <a:pPr marL="742950" lvl="1" indent="-285750" fontAlgn="base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 b="0">
                <a:solidFill>
                  <a:srgbClr val="33333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 discussions about each other’s cost of sales, sales plans, planned sales territories, cost of purchase, trade secrets, discounts, margins, rebates, credit terms, customer quotes, supplier relationships.</a:t>
            </a:r>
          </a:p>
          <a:p>
            <a:pPr marL="742950" lvl="1" indent="-285750" fontAlgn="base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>
                <a:solidFill>
                  <a:srgbClr val="33333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 discussions </a:t>
            </a:r>
            <a:r>
              <a:rPr lang="en-GB" sz="2000">
                <a:solidFill>
                  <a:srgbClr val="3C3C3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out</a:t>
            </a:r>
            <a:r>
              <a:rPr lang="en-GB" sz="2000">
                <a:solidFill>
                  <a:srgbClr val="33333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ricing and other purchasing conditions in contracts. </a:t>
            </a:r>
          </a:p>
          <a:p>
            <a:pPr marL="742950" lvl="1" indent="-285750" fontAlgn="base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 b="0">
                <a:solidFill>
                  <a:srgbClr val="33333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 exchange of other commercially sensitive information.</a:t>
            </a:r>
          </a:p>
          <a:p>
            <a:pPr marL="742950" lvl="1" indent="-285750" fontAlgn="base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>
                <a:solidFill>
                  <a:srgbClr val="33333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 agreement not to compete.</a:t>
            </a:r>
          </a:p>
          <a:p>
            <a:pPr marL="742950" lvl="1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b="0">
                <a:solidFill>
                  <a:srgbClr val="33333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ay within the limits of the agenda of the</a:t>
            </a:r>
            <a:r>
              <a:rPr lang="en-GB" sz="2000">
                <a:solidFill>
                  <a:srgbClr val="33333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ession. </a:t>
            </a:r>
            <a:r>
              <a:rPr lang="en-US" sz="2000" b="0">
                <a:solidFill>
                  <a:srgbClr val="33333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rtl="0" fontAlgn="base">
              <a:spcBef>
                <a:spcPts val="0"/>
              </a:spcBef>
              <a:spcAft>
                <a:spcPts val="1200"/>
              </a:spcAft>
            </a:pPr>
            <a:r>
              <a:rPr lang="en-US" sz="2000" b="0">
                <a:solidFill>
                  <a:srgbClr val="33333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is applies at all times, not just during the formal session, but also any time we interact. </a:t>
            </a:r>
          </a:p>
          <a:p>
            <a:pPr lvl="0" rtl="0" fontAlgn="base">
              <a:spcBef>
                <a:spcPts val="0"/>
              </a:spcBef>
              <a:spcAft>
                <a:spcPts val="1200"/>
              </a:spcAft>
            </a:pPr>
            <a:r>
              <a:rPr lang="en-US" sz="2000">
                <a:solidFill>
                  <a:srgbClr val="33333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more information, p</a:t>
            </a:r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ase review the SPP Netiquette: </a:t>
            </a:r>
            <a:r>
              <a:rPr lang="en-US" sz="2000">
                <a:solidFill>
                  <a:srgbClr val="0063C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p.earth/netiquette</a:t>
            </a:r>
            <a:r>
              <a:rPr lang="en-US" sz="2000">
                <a:solidFill>
                  <a:srgbClr val="0063C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2400" b="0">
              <a:solidFill>
                <a:srgbClr val="0063C6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 descr="A close-up of words&#10;&#10;AI-generated content may be incorrect.">
            <a:extLst>
              <a:ext uri="{FF2B5EF4-FFF2-40B4-BE49-F238E27FC236}">
                <a16:creationId xmlns:a16="http://schemas.microsoft.com/office/drawing/2014/main" id="{0C5B9A19-97AC-0C34-9FE5-EBFBD747AE9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r="2788"/>
          <a:stretch>
            <a:fillRect/>
          </a:stretch>
        </p:blipFill>
        <p:spPr>
          <a:xfrm>
            <a:off x="8943975" y="83591"/>
            <a:ext cx="2952000" cy="73176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59B0859-B365-A226-136E-AB9BC19EDC5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5642" y="4514851"/>
            <a:ext cx="1735986" cy="173598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1D6F868-1823-C8A3-0A80-5502839EA56D}"/>
              </a:ext>
            </a:extLst>
          </p:cNvPr>
          <p:cNvSpPr txBox="1"/>
          <p:nvPr userDrawn="1"/>
        </p:nvSpPr>
        <p:spPr>
          <a:xfrm>
            <a:off x="257175" y="6382821"/>
            <a:ext cx="1876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#ActionOverNoi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090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content - Juniper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D8A9E-9638-C71F-CB8F-4E16DB0C6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1B0FF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F8D94-A388-46C3-0C48-D76A83B61F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F51E3-AC28-6182-0248-C07BD511F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0D5198A-3800-D0B3-184A-F7D437A2F4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313" y="1808163"/>
            <a:ext cx="5513387" cy="4186238"/>
          </a:xfrm>
        </p:spPr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  <a:lvl2pPr>
              <a:defRPr>
                <a:solidFill>
                  <a:srgbClr val="EFF1FF"/>
                </a:solidFill>
              </a:defRPr>
            </a:lvl2pPr>
            <a:lvl3pPr>
              <a:defRPr>
                <a:solidFill>
                  <a:srgbClr val="EFF1FF"/>
                </a:solidFill>
              </a:defRPr>
            </a:lvl3pPr>
            <a:lvl4pPr>
              <a:defRPr>
                <a:solidFill>
                  <a:srgbClr val="EFF1FF"/>
                </a:solidFill>
              </a:defRPr>
            </a:lvl4pPr>
            <a:lvl5pPr>
              <a:defRPr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75177972-E5EA-DC88-1410-152E9CC757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21413" y="1808163"/>
            <a:ext cx="5513387" cy="4186238"/>
          </a:xfrm>
        </p:spPr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  <a:lvl2pPr>
              <a:defRPr>
                <a:solidFill>
                  <a:srgbClr val="EFF1FF"/>
                </a:solidFill>
              </a:defRPr>
            </a:lvl2pPr>
            <a:lvl3pPr>
              <a:defRPr>
                <a:solidFill>
                  <a:srgbClr val="EFF1FF"/>
                </a:solidFill>
              </a:defRPr>
            </a:lvl3pPr>
            <a:lvl4pPr>
              <a:defRPr>
                <a:solidFill>
                  <a:srgbClr val="EFF1FF"/>
                </a:solidFill>
              </a:defRPr>
            </a:lvl4pPr>
            <a:lvl5pPr>
              <a:defRPr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96C3AD81-1E76-656D-3D1D-E112F94123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400"/>
            <a:ext cx="982876" cy="124498"/>
          </a:xfrm>
          <a:prstGeom prst="rect">
            <a:avLst/>
          </a:prstGeom>
        </p:spPr>
      </p:pic>
      <p:sp>
        <p:nvSpPr>
          <p:cNvPr id="3" name="Copyright">
            <a:extLst>
              <a:ext uri="{FF2B5EF4-FFF2-40B4-BE49-F238E27FC236}">
                <a16:creationId xmlns:a16="http://schemas.microsoft.com/office/drawing/2014/main" id="{7306BBDF-27B0-FCA2-5489-952A50E0913E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27482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x content + Image - Juniper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3C5A953A-D334-CE5A-7541-F822AE3D0BA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0"/>
            <a:ext cx="6096000" cy="6858000"/>
          </a:xfrm>
          <a:solidFill>
            <a:schemeClr val="accent5"/>
          </a:solidFill>
        </p:spPr>
        <p:txBody>
          <a:bodyPr bIns="612000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AD8A9E-9638-C71F-CB8F-4E16DB0C6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9" y="460800"/>
            <a:ext cx="5263893" cy="803297"/>
          </a:xfrm>
        </p:spPr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F51E3-AC28-6182-0248-C07BD511F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4000" y="6341361"/>
            <a:ext cx="4687892" cy="1384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0D5198A-3800-D0B3-184A-F7D437A2F4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313" y="1808163"/>
            <a:ext cx="5263893" cy="4186238"/>
          </a:xfrm>
        </p:spPr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  <a:lvl2pPr>
              <a:defRPr>
                <a:solidFill>
                  <a:srgbClr val="EFF1FF"/>
                </a:solidFill>
              </a:defRPr>
            </a:lvl2pPr>
            <a:lvl3pPr>
              <a:defRPr>
                <a:solidFill>
                  <a:srgbClr val="EFF1FF"/>
                </a:solidFill>
              </a:defRPr>
            </a:lvl3pPr>
            <a:lvl4pPr>
              <a:defRPr>
                <a:solidFill>
                  <a:srgbClr val="EFF1FF"/>
                </a:solidFill>
              </a:defRPr>
            </a:lvl4pPr>
            <a:lvl5pPr>
              <a:defRPr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4F13329F-1B57-70C4-5736-FC6A36F690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white">
          <a:xfrm>
            <a:off x="10742400" y="6350400"/>
            <a:ext cx="982876" cy="124498"/>
          </a:xfrm>
          <a:custGeom>
            <a:avLst/>
            <a:gdLst>
              <a:gd name="connsiteX0" fmla="*/ 3880054 w 6514594"/>
              <a:gd name="connsiteY0" fmla="*/ 421753 h 823180"/>
              <a:gd name="connsiteX1" fmla="*/ 3911313 w 6514594"/>
              <a:gd name="connsiteY1" fmla="*/ 458414 h 823180"/>
              <a:gd name="connsiteX2" fmla="*/ 3911313 w 6514594"/>
              <a:gd name="connsiteY2" fmla="*/ 805825 h 823180"/>
              <a:gd name="connsiteX3" fmla="*/ 3753594 w 6514594"/>
              <a:gd name="connsiteY3" fmla="*/ 805825 h 823180"/>
              <a:gd name="connsiteX4" fmla="*/ 3753594 w 6514594"/>
              <a:gd name="connsiteY4" fmla="*/ 575965 h 823180"/>
              <a:gd name="connsiteX5" fmla="*/ 3753594 w 6514594"/>
              <a:gd name="connsiteY5" fmla="*/ 575858 h 823180"/>
              <a:gd name="connsiteX6" fmla="*/ 3760459 w 6514594"/>
              <a:gd name="connsiteY6" fmla="*/ 554352 h 823180"/>
              <a:gd name="connsiteX7" fmla="*/ 3843956 w 6514594"/>
              <a:gd name="connsiteY7" fmla="*/ 436914 h 823180"/>
              <a:gd name="connsiteX8" fmla="*/ 3863320 w 6514594"/>
              <a:gd name="connsiteY8" fmla="*/ 422761 h 823180"/>
              <a:gd name="connsiteX9" fmla="*/ 3880054 w 6514594"/>
              <a:gd name="connsiteY9" fmla="*/ 421753 h 823180"/>
              <a:gd name="connsiteX10" fmla="*/ 659546 w 6514594"/>
              <a:gd name="connsiteY10" fmla="*/ 421753 h 823180"/>
              <a:gd name="connsiteX11" fmla="*/ 690796 w 6514594"/>
              <a:gd name="connsiteY11" fmla="*/ 458414 h 823180"/>
              <a:gd name="connsiteX12" fmla="*/ 690796 w 6514594"/>
              <a:gd name="connsiteY12" fmla="*/ 805825 h 823180"/>
              <a:gd name="connsiteX13" fmla="*/ 533077 w 6514594"/>
              <a:gd name="connsiteY13" fmla="*/ 805825 h 823180"/>
              <a:gd name="connsiteX14" fmla="*/ 533077 w 6514594"/>
              <a:gd name="connsiteY14" fmla="*/ 575965 h 823180"/>
              <a:gd name="connsiteX15" fmla="*/ 533077 w 6514594"/>
              <a:gd name="connsiteY15" fmla="*/ 575858 h 823180"/>
              <a:gd name="connsiteX16" fmla="*/ 539953 w 6514594"/>
              <a:gd name="connsiteY16" fmla="*/ 554352 h 823180"/>
              <a:gd name="connsiteX17" fmla="*/ 623450 w 6514594"/>
              <a:gd name="connsiteY17" fmla="*/ 436914 h 823180"/>
              <a:gd name="connsiteX18" fmla="*/ 642814 w 6514594"/>
              <a:gd name="connsiteY18" fmla="*/ 422761 h 823180"/>
              <a:gd name="connsiteX19" fmla="*/ 659546 w 6514594"/>
              <a:gd name="connsiteY19" fmla="*/ 421753 h 823180"/>
              <a:gd name="connsiteX20" fmla="*/ 5741899 w 6514594"/>
              <a:gd name="connsiteY20" fmla="*/ 266767 h 823180"/>
              <a:gd name="connsiteX21" fmla="*/ 5773146 w 6514594"/>
              <a:gd name="connsiteY21" fmla="*/ 303432 h 823180"/>
              <a:gd name="connsiteX22" fmla="*/ 5773146 w 6514594"/>
              <a:gd name="connsiteY22" fmla="*/ 805938 h 823180"/>
              <a:gd name="connsiteX23" fmla="*/ 5615427 w 6514594"/>
              <a:gd name="connsiteY23" fmla="*/ 805938 h 823180"/>
              <a:gd name="connsiteX24" fmla="*/ 5615427 w 6514594"/>
              <a:gd name="connsiteY24" fmla="*/ 420876 h 823180"/>
              <a:gd name="connsiteX25" fmla="*/ 5622309 w 6514594"/>
              <a:gd name="connsiteY25" fmla="*/ 399370 h 823180"/>
              <a:gd name="connsiteX26" fmla="*/ 5705806 w 6514594"/>
              <a:gd name="connsiteY26" fmla="*/ 281931 h 823180"/>
              <a:gd name="connsiteX27" fmla="*/ 5725169 w 6514594"/>
              <a:gd name="connsiteY27" fmla="*/ 267776 h 823180"/>
              <a:gd name="connsiteX28" fmla="*/ 5741899 w 6514594"/>
              <a:gd name="connsiteY28" fmla="*/ 266767 h 823180"/>
              <a:gd name="connsiteX29" fmla="*/ 4401173 w 6514594"/>
              <a:gd name="connsiteY29" fmla="*/ 136105 h 823180"/>
              <a:gd name="connsiteX30" fmla="*/ 4164301 w 6514594"/>
              <a:gd name="connsiteY30" fmla="*/ 338244 h 823180"/>
              <a:gd name="connsiteX31" fmla="*/ 4620645 w 6514594"/>
              <a:gd name="connsiteY31" fmla="*/ 338244 h 823180"/>
              <a:gd name="connsiteX32" fmla="*/ 4401173 w 6514594"/>
              <a:gd name="connsiteY32" fmla="*/ 136105 h 823180"/>
              <a:gd name="connsiteX33" fmla="*/ 2734586 w 6514594"/>
              <a:gd name="connsiteY33" fmla="*/ 123766 h 823180"/>
              <a:gd name="connsiteX34" fmla="*/ 2496430 w 6514594"/>
              <a:gd name="connsiteY34" fmla="*/ 410821 h 823180"/>
              <a:gd name="connsiteX35" fmla="*/ 2734586 w 6514594"/>
              <a:gd name="connsiteY35" fmla="*/ 699403 h 823180"/>
              <a:gd name="connsiteX36" fmla="*/ 2971108 w 6514594"/>
              <a:gd name="connsiteY36" fmla="*/ 410821 h 823180"/>
              <a:gd name="connsiteX37" fmla="*/ 2734586 w 6514594"/>
              <a:gd name="connsiteY37" fmla="*/ 123766 h 823180"/>
              <a:gd name="connsiteX38" fmla="*/ 1178468 w 6514594"/>
              <a:gd name="connsiteY38" fmla="*/ 123766 h 823180"/>
              <a:gd name="connsiteX39" fmla="*/ 940307 w 6514594"/>
              <a:gd name="connsiteY39" fmla="*/ 410821 h 823180"/>
              <a:gd name="connsiteX40" fmla="*/ 1178468 w 6514594"/>
              <a:gd name="connsiteY40" fmla="*/ 699403 h 823180"/>
              <a:gd name="connsiteX41" fmla="*/ 1414990 w 6514594"/>
              <a:gd name="connsiteY41" fmla="*/ 410821 h 823180"/>
              <a:gd name="connsiteX42" fmla="*/ 1178468 w 6514594"/>
              <a:gd name="connsiteY42" fmla="*/ 123766 h 823180"/>
              <a:gd name="connsiteX43" fmla="*/ 2185691 w 6514594"/>
              <a:gd name="connsiteY43" fmla="*/ 17462 h 823180"/>
              <a:gd name="connsiteX44" fmla="*/ 2353179 w 6514594"/>
              <a:gd name="connsiteY44" fmla="*/ 17462 h 823180"/>
              <a:gd name="connsiteX45" fmla="*/ 2335657 w 6514594"/>
              <a:gd name="connsiteY45" fmla="*/ 62216 h 823180"/>
              <a:gd name="connsiteX46" fmla="*/ 2043467 w 6514594"/>
              <a:gd name="connsiteY46" fmla="*/ 805830 h 823180"/>
              <a:gd name="connsiteX47" fmla="*/ 1867958 w 6514594"/>
              <a:gd name="connsiteY47" fmla="*/ 805830 h 823180"/>
              <a:gd name="connsiteX48" fmla="*/ 1760558 w 6514594"/>
              <a:gd name="connsiteY48" fmla="*/ 532528 h 823180"/>
              <a:gd name="connsiteX49" fmla="*/ 1764816 w 6514594"/>
              <a:gd name="connsiteY49" fmla="*/ 497489 h 823180"/>
              <a:gd name="connsiteX50" fmla="*/ 1812618 w 6514594"/>
              <a:gd name="connsiteY50" fmla="*/ 430257 h 823180"/>
              <a:gd name="connsiteX51" fmla="*/ 1878001 w 6514594"/>
              <a:gd name="connsiteY51" fmla="*/ 439859 h 823180"/>
              <a:gd name="connsiteX52" fmla="*/ 1922314 w 6514594"/>
              <a:gd name="connsiteY52" fmla="*/ 622573 h 823180"/>
              <a:gd name="connsiteX53" fmla="*/ 1954401 w 6514594"/>
              <a:gd name="connsiteY53" fmla="*/ 653133 h 823180"/>
              <a:gd name="connsiteX54" fmla="*/ 1955277 w 6514594"/>
              <a:gd name="connsiteY54" fmla="*/ 653133 h 823180"/>
              <a:gd name="connsiteX55" fmla="*/ 1987256 w 6514594"/>
              <a:gd name="connsiteY55" fmla="*/ 622573 h 823180"/>
              <a:gd name="connsiteX56" fmla="*/ 2048161 w 6514594"/>
              <a:gd name="connsiteY56" fmla="*/ 392928 h 823180"/>
              <a:gd name="connsiteX57" fmla="*/ 5615427 w 6514594"/>
              <a:gd name="connsiteY57" fmla="*/ 17457 h 823180"/>
              <a:gd name="connsiteX58" fmla="*/ 5773146 w 6514594"/>
              <a:gd name="connsiteY58" fmla="*/ 17457 h 823180"/>
              <a:gd name="connsiteX59" fmla="*/ 5773146 w 6514594"/>
              <a:gd name="connsiteY59" fmla="*/ 83491 h 823180"/>
              <a:gd name="connsiteX60" fmla="*/ 5767587 w 6514594"/>
              <a:gd name="connsiteY60" fmla="*/ 100846 h 823180"/>
              <a:gd name="connsiteX61" fmla="*/ 5682790 w 6514594"/>
              <a:gd name="connsiteY61" fmla="*/ 220359 h 823180"/>
              <a:gd name="connsiteX62" fmla="*/ 5615427 w 6514594"/>
              <a:gd name="connsiteY62" fmla="*/ 198859 h 823180"/>
              <a:gd name="connsiteX63" fmla="*/ 2353221 w 6514594"/>
              <a:gd name="connsiteY63" fmla="*/ 17355 h 823180"/>
              <a:gd name="connsiteX64" fmla="*/ 2353221 w 6514594"/>
              <a:gd name="connsiteY64" fmla="*/ 17462 h 823180"/>
              <a:gd name="connsiteX65" fmla="*/ 2353179 w 6514594"/>
              <a:gd name="connsiteY65" fmla="*/ 17462 h 823180"/>
              <a:gd name="connsiteX66" fmla="*/ 1558181 w 6514594"/>
              <a:gd name="connsiteY66" fmla="*/ 17355 h 823180"/>
              <a:gd name="connsiteX67" fmla="*/ 1727357 w 6514594"/>
              <a:gd name="connsiteY67" fmla="*/ 17355 h 823180"/>
              <a:gd name="connsiteX68" fmla="*/ 1824284 w 6514594"/>
              <a:gd name="connsiteY68" fmla="*/ 289017 h 823180"/>
              <a:gd name="connsiteX69" fmla="*/ 1824392 w 6514594"/>
              <a:gd name="connsiteY69" fmla="*/ 289017 h 823180"/>
              <a:gd name="connsiteX70" fmla="*/ 1819698 w 6514594"/>
              <a:gd name="connsiteY70" fmla="*/ 322964 h 823180"/>
              <a:gd name="connsiteX71" fmla="*/ 1768616 w 6514594"/>
              <a:gd name="connsiteY71" fmla="*/ 395004 h 823180"/>
              <a:gd name="connsiteX72" fmla="*/ 1703787 w 6514594"/>
              <a:gd name="connsiteY72" fmla="*/ 387143 h 823180"/>
              <a:gd name="connsiteX73" fmla="*/ 1558181 w 6514594"/>
              <a:gd name="connsiteY73" fmla="*/ 17355 h 823180"/>
              <a:gd name="connsiteX74" fmla="*/ 4402474 w 6514594"/>
              <a:gd name="connsiteY74" fmla="*/ 3495 h 823180"/>
              <a:gd name="connsiteX75" fmla="*/ 4783402 w 6514594"/>
              <a:gd name="connsiteY75" fmla="*/ 425128 h 823180"/>
              <a:gd name="connsiteX76" fmla="*/ 4783402 w 6514594"/>
              <a:gd name="connsiteY76" fmla="*/ 463000 h 823180"/>
              <a:gd name="connsiteX77" fmla="*/ 4162780 w 6514594"/>
              <a:gd name="connsiteY77" fmla="*/ 463000 h 823180"/>
              <a:gd name="connsiteX78" fmla="*/ 4401173 w 6514594"/>
              <a:gd name="connsiteY78" fmla="*/ 690462 h 823180"/>
              <a:gd name="connsiteX79" fmla="*/ 4601344 w 6514594"/>
              <a:gd name="connsiteY79" fmla="*/ 578040 h 823180"/>
              <a:gd name="connsiteX80" fmla="*/ 4636043 w 6514594"/>
              <a:gd name="connsiteY80" fmla="*/ 555120 h 823180"/>
              <a:gd name="connsiteX81" fmla="*/ 4636043 w 6514594"/>
              <a:gd name="connsiteY81" fmla="*/ 555228 h 823180"/>
              <a:gd name="connsiteX82" fmla="*/ 4771826 w 6514594"/>
              <a:gd name="connsiteY82" fmla="*/ 555228 h 823180"/>
              <a:gd name="connsiteX83" fmla="*/ 4405969 w 6514594"/>
              <a:gd name="connsiteY83" fmla="*/ 823180 h 823180"/>
              <a:gd name="connsiteX84" fmla="*/ 4008013 w 6514594"/>
              <a:gd name="connsiteY84" fmla="*/ 409628 h 823180"/>
              <a:gd name="connsiteX85" fmla="*/ 4402474 w 6514594"/>
              <a:gd name="connsiteY85" fmla="*/ 3495 h 823180"/>
              <a:gd name="connsiteX86" fmla="*/ 3613231 w 6514594"/>
              <a:gd name="connsiteY86" fmla="*/ 1527 h 823180"/>
              <a:gd name="connsiteX87" fmla="*/ 3907060 w 6514594"/>
              <a:gd name="connsiteY87" fmla="*/ 231715 h 823180"/>
              <a:gd name="connsiteX88" fmla="*/ 3900715 w 6514594"/>
              <a:gd name="connsiteY88" fmla="*/ 259770 h 823180"/>
              <a:gd name="connsiteX89" fmla="*/ 3820934 w 6514594"/>
              <a:gd name="connsiteY89" fmla="*/ 372299 h 823180"/>
              <a:gd name="connsiteX90" fmla="*/ 3820827 w 6514594"/>
              <a:gd name="connsiteY90" fmla="*/ 372299 h 823180"/>
              <a:gd name="connsiteX91" fmla="*/ 3753487 w 6514594"/>
              <a:gd name="connsiteY91" fmla="*/ 350799 h 823180"/>
              <a:gd name="connsiteX92" fmla="*/ 3753487 w 6514594"/>
              <a:gd name="connsiteY92" fmla="*/ 315325 h 823180"/>
              <a:gd name="connsiteX93" fmla="*/ 3575246 w 6514594"/>
              <a:gd name="connsiteY93" fmla="*/ 140251 h 823180"/>
              <a:gd name="connsiteX94" fmla="*/ 3388715 w 6514594"/>
              <a:gd name="connsiteY94" fmla="*/ 234667 h 823180"/>
              <a:gd name="connsiteX95" fmla="*/ 3378117 w 6514594"/>
              <a:gd name="connsiteY95" fmla="*/ 267625 h 823180"/>
              <a:gd name="connsiteX96" fmla="*/ 3378117 w 6514594"/>
              <a:gd name="connsiteY96" fmla="*/ 805825 h 823180"/>
              <a:gd name="connsiteX97" fmla="*/ 3220398 w 6514594"/>
              <a:gd name="connsiteY97" fmla="*/ 805825 h 823180"/>
              <a:gd name="connsiteX98" fmla="*/ 3220398 w 6514594"/>
              <a:gd name="connsiteY98" fmla="*/ 17355 h 823180"/>
              <a:gd name="connsiteX99" fmla="*/ 3371795 w 6514594"/>
              <a:gd name="connsiteY99" fmla="*/ 17355 h 823180"/>
              <a:gd name="connsiteX100" fmla="*/ 3338289 w 6514594"/>
              <a:gd name="connsiteY100" fmla="*/ 133595 h 823180"/>
              <a:gd name="connsiteX101" fmla="*/ 3364155 w 6514594"/>
              <a:gd name="connsiteY101" fmla="*/ 173321 h 823180"/>
              <a:gd name="connsiteX102" fmla="*/ 3385763 w 6514594"/>
              <a:gd name="connsiteY102" fmla="*/ 160445 h 823180"/>
              <a:gd name="connsiteX103" fmla="*/ 3613231 w 6514594"/>
              <a:gd name="connsiteY103" fmla="*/ 1527 h 823180"/>
              <a:gd name="connsiteX104" fmla="*/ 392713 w 6514594"/>
              <a:gd name="connsiteY104" fmla="*/ 1527 h 823180"/>
              <a:gd name="connsiteX105" fmla="*/ 686538 w 6514594"/>
              <a:gd name="connsiteY105" fmla="*/ 231715 h 823180"/>
              <a:gd name="connsiteX106" fmla="*/ 680210 w 6514594"/>
              <a:gd name="connsiteY106" fmla="*/ 259770 h 823180"/>
              <a:gd name="connsiteX107" fmla="*/ 600423 w 6514594"/>
              <a:gd name="connsiteY107" fmla="*/ 372299 h 823180"/>
              <a:gd name="connsiteX108" fmla="*/ 533077 w 6514594"/>
              <a:gd name="connsiteY108" fmla="*/ 350799 h 823180"/>
              <a:gd name="connsiteX109" fmla="*/ 533077 w 6514594"/>
              <a:gd name="connsiteY109" fmla="*/ 315325 h 823180"/>
              <a:gd name="connsiteX110" fmla="*/ 354842 w 6514594"/>
              <a:gd name="connsiteY110" fmla="*/ 140251 h 823180"/>
              <a:gd name="connsiteX111" fmla="*/ 168305 w 6514594"/>
              <a:gd name="connsiteY111" fmla="*/ 234667 h 823180"/>
              <a:gd name="connsiteX112" fmla="*/ 157719 w 6514594"/>
              <a:gd name="connsiteY112" fmla="*/ 267625 h 823180"/>
              <a:gd name="connsiteX113" fmla="*/ 157719 w 6514594"/>
              <a:gd name="connsiteY113" fmla="*/ 805825 h 823180"/>
              <a:gd name="connsiteX114" fmla="*/ 0 w 6514594"/>
              <a:gd name="connsiteY114" fmla="*/ 805825 h 823180"/>
              <a:gd name="connsiteX115" fmla="*/ 0 w 6514594"/>
              <a:gd name="connsiteY115" fmla="*/ 17355 h 823180"/>
              <a:gd name="connsiteX116" fmla="*/ 151277 w 6514594"/>
              <a:gd name="connsiteY116" fmla="*/ 17355 h 823180"/>
              <a:gd name="connsiteX117" fmla="*/ 117771 w 6514594"/>
              <a:gd name="connsiteY117" fmla="*/ 133595 h 823180"/>
              <a:gd name="connsiteX118" fmla="*/ 143638 w 6514594"/>
              <a:gd name="connsiteY118" fmla="*/ 173321 h 823180"/>
              <a:gd name="connsiteX119" fmla="*/ 165251 w 6514594"/>
              <a:gd name="connsiteY119" fmla="*/ 160445 h 823180"/>
              <a:gd name="connsiteX120" fmla="*/ 392713 w 6514594"/>
              <a:gd name="connsiteY120" fmla="*/ 1527 h 823180"/>
              <a:gd name="connsiteX121" fmla="*/ 2734479 w 6514594"/>
              <a:gd name="connsiteY121" fmla="*/ 758 h 823180"/>
              <a:gd name="connsiteX122" fmla="*/ 3124025 w 6514594"/>
              <a:gd name="connsiteY122" fmla="*/ 410821 h 823180"/>
              <a:gd name="connsiteX123" fmla="*/ 2734479 w 6514594"/>
              <a:gd name="connsiteY123" fmla="*/ 822411 h 823180"/>
              <a:gd name="connsiteX124" fmla="*/ 2343405 w 6514594"/>
              <a:gd name="connsiteY124" fmla="*/ 410821 h 823180"/>
              <a:gd name="connsiteX125" fmla="*/ 2734479 w 6514594"/>
              <a:gd name="connsiteY125" fmla="*/ 758 h 823180"/>
              <a:gd name="connsiteX126" fmla="*/ 1178355 w 6514594"/>
              <a:gd name="connsiteY126" fmla="*/ 758 h 823180"/>
              <a:gd name="connsiteX127" fmla="*/ 1567908 w 6514594"/>
              <a:gd name="connsiteY127" fmla="*/ 410821 h 823180"/>
              <a:gd name="connsiteX128" fmla="*/ 1178355 w 6514594"/>
              <a:gd name="connsiteY128" fmla="*/ 822411 h 823180"/>
              <a:gd name="connsiteX129" fmla="*/ 787282 w 6514594"/>
              <a:gd name="connsiteY129" fmla="*/ 410821 h 823180"/>
              <a:gd name="connsiteX130" fmla="*/ 1178355 w 6514594"/>
              <a:gd name="connsiteY130" fmla="*/ 758 h 823180"/>
              <a:gd name="connsiteX131" fmla="*/ 6183435 w 6514594"/>
              <a:gd name="connsiteY131" fmla="*/ 0 h 823180"/>
              <a:gd name="connsiteX132" fmla="*/ 6492550 w 6514594"/>
              <a:gd name="connsiteY132" fmla="*/ 257038 h 823180"/>
              <a:gd name="connsiteX133" fmla="*/ 6371052 w 6514594"/>
              <a:gd name="connsiteY133" fmla="*/ 257038 h 823180"/>
              <a:gd name="connsiteX134" fmla="*/ 6334832 w 6514594"/>
              <a:gd name="connsiteY134" fmla="*/ 227790 h 823180"/>
              <a:gd name="connsiteX135" fmla="*/ 6183435 w 6514594"/>
              <a:gd name="connsiteY135" fmla="*/ 124535 h 823180"/>
              <a:gd name="connsiteX136" fmla="*/ 6039894 w 6514594"/>
              <a:gd name="connsiteY136" fmla="*/ 219166 h 823180"/>
              <a:gd name="connsiteX137" fmla="*/ 6191296 w 6514594"/>
              <a:gd name="connsiteY137" fmla="*/ 339008 h 823180"/>
              <a:gd name="connsiteX138" fmla="*/ 6514594 w 6514594"/>
              <a:gd name="connsiteY138" fmla="*/ 596046 h 823180"/>
              <a:gd name="connsiteX139" fmla="*/ 6197635 w 6514594"/>
              <a:gd name="connsiteY139" fmla="*/ 823180 h 823180"/>
              <a:gd name="connsiteX140" fmla="*/ 5856965 w 6514594"/>
              <a:gd name="connsiteY140" fmla="*/ 555115 h 823180"/>
              <a:gd name="connsiteX141" fmla="*/ 5857072 w 6514594"/>
              <a:gd name="connsiteY141" fmla="*/ 555115 h 823180"/>
              <a:gd name="connsiteX142" fmla="*/ 5984672 w 6514594"/>
              <a:gd name="connsiteY142" fmla="*/ 555115 h 823180"/>
              <a:gd name="connsiteX143" fmla="*/ 6019722 w 6514594"/>
              <a:gd name="connsiteY143" fmla="*/ 580116 h 823180"/>
              <a:gd name="connsiteX144" fmla="*/ 6194570 w 6514594"/>
              <a:gd name="connsiteY144" fmla="*/ 698538 h 823180"/>
              <a:gd name="connsiteX145" fmla="*/ 6355461 w 6514594"/>
              <a:gd name="connsiteY145" fmla="*/ 596046 h 823180"/>
              <a:gd name="connsiteX146" fmla="*/ 6142499 w 6514594"/>
              <a:gd name="connsiteY146" fmla="*/ 471511 h 823180"/>
              <a:gd name="connsiteX147" fmla="*/ 5883826 w 6514594"/>
              <a:gd name="connsiteY147" fmla="*/ 219166 h 823180"/>
              <a:gd name="connsiteX148" fmla="*/ 6183435 w 6514594"/>
              <a:gd name="connsiteY148" fmla="*/ 0 h 823180"/>
              <a:gd name="connsiteX149" fmla="*/ 5176541 w 6514594"/>
              <a:gd name="connsiteY149" fmla="*/ 0 h 823180"/>
              <a:gd name="connsiteX150" fmla="*/ 5485656 w 6514594"/>
              <a:gd name="connsiteY150" fmla="*/ 257038 h 823180"/>
              <a:gd name="connsiteX151" fmla="*/ 5364181 w 6514594"/>
              <a:gd name="connsiteY151" fmla="*/ 257038 h 823180"/>
              <a:gd name="connsiteX152" fmla="*/ 5327937 w 6514594"/>
              <a:gd name="connsiteY152" fmla="*/ 227790 h 823180"/>
              <a:gd name="connsiteX153" fmla="*/ 5176541 w 6514594"/>
              <a:gd name="connsiteY153" fmla="*/ 124535 h 823180"/>
              <a:gd name="connsiteX154" fmla="*/ 5033022 w 6514594"/>
              <a:gd name="connsiteY154" fmla="*/ 219166 h 823180"/>
              <a:gd name="connsiteX155" fmla="*/ 5184401 w 6514594"/>
              <a:gd name="connsiteY155" fmla="*/ 339008 h 823180"/>
              <a:gd name="connsiteX156" fmla="*/ 5507700 w 6514594"/>
              <a:gd name="connsiteY156" fmla="*/ 596046 h 823180"/>
              <a:gd name="connsiteX157" fmla="*/ 5190741 w 6514594"/>
              <a:gd name="connsiteY157" fmla="*/ 823180 h 823180"/>
              <a:gd name="connsiteX158" fmla="*/ 4850093 w 6514594"/>
              <a:gd name="connsiteY158" fmla="*/ 555115 h 823180"/>
              <a:gd name="connsiteX159" fmla="*/ 4850200 w 6514594"/>
              <a:gd name="connsiteY159" fmla="*/ 555115 h 823180"/>
              <a:gd name="connsiteX160" fmla="*/ 4977801 w 6514594"/>
              <a:gd name="connsiteY160" fmla="*/ 555115 h 823180"/>
              <a:gd name="connsiteX161" fmla="*/ 5012828 w 6514594"/>
              <a:gd name="connsiteY161" fmla="*/ 580116 h 823180"/>
              <a:gd name="connsiteX162" fmla="*/ 5187681 w 6514594"/>
              <a:gd name="connsiteY162" fmla="*/ 698538 h 823180"/>
              <a:gd name="connsiteX163" fmla="*/ 5348567 w 6514594"/>
              <a:gd name="connsiteY163" fmla="*/ 596046 h 823180"/>
              <a:gd name="connsiteX164" fmla="*/ 5135627 w 6514594"/>
              <a:gd name="connsiteY164" fmla="*/ 471511 h 823180"/>
              <a:gd name="connsiteX165" fmla="*/ 4876932 w 6514594"/>
              <a:gd name="connsiteY165" fmla="*/ 219166 h 823180"/>
              <a:gd name="connsiteX166" fmla="*/ 5176541 w 6514594"/>
              <a:gd name="connsiteY166" fmla="*/ 0 h 82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6514594" h="823180">
                <a:moveTo>
                  <a:pt x="3880054" y="421753"/>
                </a:moveTo>
                <a:cubicBezTo>
                  <a:pt x="3896630" y="424507"/>
                  <a:pt x="3911313" y="438094"/>
                  <a:pt x="3911313" y="458414"/>
                </a:cubicBezTo>
                <a:lnTo>
                  <a:pt x="3911313" y="805825"/>
                </a:lnTo>
                <a:lnTo>
                  <a:pt x="3753594" y="805825"/>
                </a:lnTo>
                <a:lnTo>
                  <a:pt x="3753594" y="575965"/>
                </a:lnTo>
                <a:lnTo>
                  <a:pt x="3753594" y="575858"/>
                </a:lnTo>
                <a:cubicBezTo>
                  <a:pt x="3753594" y="568105"/>
                  <a:pt x="3755986" y="560685"/>
                  <a:pt x="3760459" y="554352"/>
                </a:cubicBezTo>
                <a:lnTo>
                  <a:pt x="3843956" y="436914"/>
                </a:lnTo>
                <a:cubicBezTo>
                  <a:pt x="3849194" y="429546"/>
                  <a:pt x="3856023" y="424949"/>
                  <a:pt x="3863320" y="422761"/>
                </a:cubicBezTo>
                <a:cubicBezTo>
                  <a:pt x="3868793" y="421120"/>
                  <a:pt x="3874528" y="420835"/>
                  <a:pt x="3880054" y="421753"/>
                </a:cubicBezTo>
                <a:close/>
                <a:moveTo>
                  <a:pt x="659546" y="421753"/>
                </a:moveTo>
                <a:cubicBezTo>
                  <a:pt x="676118" y="424507"/>
                  <a:pt x="690796" y="438094"/>
                  <a:pt x="690796" y="458414"/>
                </a:cubicBezTo>
                <a:lnTo>
                  <a:pt x="690796" y="805825"/>
                </a:lnTo>
                <a:lnTo>
                  <a:pt x="533077" y="805825"/>
                </a:lnTo>
                <a:lnTo>
                  <a:pt x="533077" y="575965"/>
                </a:lnTo>
                <a:lnTo>
                  <a:pt x="533077" y="575858"/>
                </a:lnTo>
                <a:cubicBezTo>
                  <a:pt x="533077" y="568105"/>
                  <a:pt x="535480" y="560685"/>
                  <a:pt x="539953" y="554352"/>
                </a:cubicBezTo>
                <a:lnTo>
                  <a:pt x="623450" y="436914"/>
                </a:lnTo>
                <a:cubicBezTo>
                  <a:pt x="628689" y="429546"/>
                  <a:pt x="635518" y="424949"/>
                  <a:pt x="642814" y="422761"/>
                </a:cubicBezTo>
                <a:cubicBezTo>
                  <a:pt x="648286" y="421120"/>
                  <a:pt x="654021" y="420835"/>
                  <a:pt x="659546" y="421753"/>
                </a:cubicBezTo>
                <a:close/>
                <a:moveTo>
                  <a:pt x="5741899" y="266767"/>
                </a:moveTo>
                <a:cubicBezTo>
                  <a:pt x="5758470" y="269521"/>
                  <a:pt x="5773146" y="283109"/>
                  <a:pt x="5773146" y="303432"/>
                </a:cubicBezTo>
                <a:lnTo>
                  <a:pt x="5773146" y="805938"/>
                </a:lnTo>
                <a:lnTo>
                  <a:pt x="5615427" y="805938"/>
                </a:lnTo>
                <a:lnTo>
                  <a:pt x="5615427" y="420876"/>
                </a:lnTo>
                <a:cubicBezTo>
                  <a:pt x="5615427" y="413123"/>
                  <a:pt x="5617836" y="405703"/>
                  <a:pt x="5622309" y="399370"/>
                </a:cubicBezTo>
                <a:lnTo>
                  <a:pt x="5705806" y="281931"/>
                </a:lnTo>
                <a:cubicBezTo>
                  <a:pt x="5711045" y="274563"/>
                  <a:pt x="5717874" y="269964"/>
                  <a:pt x="5725169" y="267776"/>
                </a:cubicBezTo>
                <a:cubicBezTo>
                  <a:pt x="5730641" y="266134"/>
                  <a:pt x="5736375" y="265849"/>
                  <a:pt x="5741899" y="266767"/>
                </a:cubicBezTo>
                <a:close/>
                <a:moveTo>
                  <a:pt x="4401173" y="136105"/>
                </a:moveTo>
                <a:cubicBezTo>
                  <a:pt x="4266906" y="136105"/>
                  <a:pt x="4176849" y="234011"/>
                  <a:pt x="4164301" y="338244"/>
                </a:cubicBezTo>
                <a:lnTo>
                  <a:pt x="4620645" y="338244"/>
                </a:lnTo>
                <a:cubicBezTo>
                  <a:pt x="4608096" y="246672"/>
                  <a:pt x="4536933" y="136105"/>
                  <a:pt x="4401173" y="136105"/>
                </a:cubicBezTo>
                <a:close/>
                <a:moveTo>
                  <a:pt x="2734586" y="123766"/>
                </a:moveTo>
                <a:cubicBezTo>
                  <a:pt x="2581685" y="123766"/>
                  <a:pt x="2496430" y="249941"/>
                  <a:pt x="2496430" y="410821"/>
                </a:cubicBezTo>
                <a:cubicBezTo>
                  <a:pt x="2496430" y="571701"/>
                  <a:pt x="2578406" y="699403"/>
                  <a:pt x="2734586" y="699403"/>
                </a:cubicBezTo>
                <a:cubicBezTo>
                  <a:pt x="2890784" y="699403"/>
                  <a:pt x="2971108" y="571701"/>
                  <a:pt x="2971108" y="410821"/>
                </a:cubicBezTo>
                <a:cubicBezTo>
                  <a:pt x="2971108" y="249941"/>
                  <a:pt x="2887504" y="123766"/>
                  <a:pt x="2734586" y="123766"/>
                </a:cubicBezTo>
                <a:close/>
                <a:moveTo>
                  <a:pt x="1178468" y="123766"/>
                </a:moveTo>
                <a:cubicBezTo>
                  <a:pt x="1025551" y="123766"/>
                  <a:pt x="940307" y="249941"/>
                  <a:pt x="940307" y="410821"/>
                </a:cubicBezTo>
                <a:cubicBezTo>
                  <a:pt x="940307" y="571701"/>
                  <a:pt x="1022276" y="699403"/>
                  <a:pt x="1178468" y="699403"/>
                </a:cubicBezTo>
                <a:cubicBezTo>
                  <a:pt x="1334660" y="699403"/>
                  <a:pt x="1414990" y="571701"/>
                  <a:pt x="1414990" y="410821"/>
                </a:cubicBezTo>
                <a:cubicBezTo>
                  <a:pt x="1414990" y="249941"/>
                  <a:pt x="1331380" y="123766"/>
                  <a:pt x="1178468" y="123766"/>
                </a:cubicBezTo>
                <a:close/>
                <a:moveTo>
                  <a:pt x="2185691" y="17462"/>
                </a:moveTo>
                <a:lnTo>
                  <a:pt x="2353179" y="17462"/>
                </a:lnTo>
                <a:lnTo>
                  <a:pt x="2335657" y="62216"/>
                </a:lnTo>
                <a:lnTo>
                  <a:pt x="2043467" y="805830"/>
                </a:lnTo>
                <a:lnTo>
                  <a:pt x="1867958" y="805830"/>
                </a:lnTo>
                <a:lnTo>
                  <a:pt x="1760558" y="532528"/>
                </a:lnTo>
                <a:cubicBezTo>
                  <a:pt x="1755971" y="520850"/>
                  <a:pt x="1757611" y="507640"/>
                  <a:pt x="1764816" y="497489"/>
                </a:cubicBezTo>
                <a:lnTo>
                  <a:pt x="1812618" y="430257"/>
                </a:lnTo>
                <a:cubicBezTo>
                  <a:pt x="1830194" y="405590"/>
                  <a:pt x="1868286" y="411047"/>
                  <a:pt x="1878001" y="439859"/>
                </a:cubicBezTo>
                <a:cubicBezTo>
                  <a:pt x="1896448" y="494651"/>
                  <a:pt x="1919255" y="570943"/>
                  <a:pt x="1922314" y="622573"/>
                </a:cubicBezTo>
                <a:cubicBezTo>
                  <a:pt x="1923298" y="639708"/>
                  <a:pt x="1937158" y="653133"/>
                  <a:pt x="1954401" y="653133"/>
                </a:cubicBezTo>
                <a:lnTo>
                  <a:pt x="1955277" y="653133"/>
                </a:lnTo>
                <a:cubicBezTo>
                  <a:pt x="1972412" y="653133"/>
                  <a:pt x="1986272" y="639600"/>
                  <a:pt x="1987256" y="622573"/>
                </a:cubicBezTo>
                <a:cubicBezTo>
                  <a:pt x="1992385" y="533834"/>
                  <a:pt x="2019671" y="471075"/>
                  <a:pt x="2048161" y="392928"/>
                </a:cubicBezTo>
                <a:close/>
                <a:moveTo>
                  <a:pt x="5615427" y="17457"/>
                </a:moveTo>
                <a:lnTo>
                  <a:pt x="5773146" y="17457"/>
                </a:lnTo>
                <a:lnTo>
                  <a:pt x="5773146" y="83491"/>
                </a:lnTo>
                <a:cubicBezTo>
                  <a:pt x="5773146" y="89711"/>
                  <a:pt x="5771189" y="95824"/>
                  <a:pt x="5767587" y="100846"/>
                </a:cubicBezTo>
                <a:lnTo>
                  <a:pt x="5682790" y="220359"/>
                </a:lnTo>
                <a:cubicBezTo>
                  <a:pt x="5661940" y="249828"/>
                  <a:pt x="5615427" y="234983"/>
                  <a:pt x="5615427" y="198859"/>
                </a:cubicBezTo>
                <a:close/>
                <a:moveTo>
                  <a:pt x="2353221" y="17355"/>
                </a:moveTo>
                <a:lnTo>
                  <a:pt x="2353221" y="17462"/>
                </a:lnTo>
                <a:lnTo>
                  <a:pt x="2353179" y="17462"/>
                </a:lnTo>
                <a:close/>
                <a:moveTo>
                  <a:pt x="1558181" y="17355"/>
                </a:moveTo>
                <a:lnTo>
                  <a:pt x="1727357" y="17355"/>
                </a:lnTo>
                <a:lnTo>
                  <a:pt x="1824284" y="289017"/>
                </a:lnTo>
                <a:lnTo>
                  <a:pt x="1824392" y="289017"/>
                </a:lnTo>
                <a:cubicBezTo>
                  <a:pt x="1828429" y="300373"/>
                  <a:pt x="1826682" y="313142"/>
                  <a:pt x="1819698" y="322964"/>
                </a:cubicBezTo>
                <a:lnTo>
                  <a:pt x="1768616" y="395004"/>
                </a:lnTo>
                <a:cubicBezTo>
                  <a:pt x="1751589" y="419015"/>
                  <a:pt x="1714588" y="414536"/>
                  <a:pt x="1703787" y="387143"/>
                </a:cubicBezTo>
                <a:cubicBezTo>
                  <a:pt x="1654232" y="261189"/>
                  <a:pt x="1558181" y="17355"/>
                  <a:pt x="1558181" y="17355"/>
                </a:cubicBezTo>
                <a:close/>
                <a:moveTo>
                  <a:pt x="4402474" y="3495"/>
                </a:moveTo>
                <a:cubicBezTo>
                  <a:pt x="4661146" y="2296"/>
                  <a:pt x="4783402" y="230408"/>
                  <a:pt x="4783402" y="425128"/>
                </a:cubicBezTo>
                <a:lnTo>
                  <a:pt x="4783402" y="463000"/>
                </a:lnTo>
                <a:lnTo>
                  <a:pt x="4162780" y="463000"/>
                </a:lnTo>
                <a:cubicBezTo>
                  <a:pt x="4162780" y="530889"/>
                  <a:pt x="4217894" y="690462"/>
                  <a:pt x="4401173" y="690462"/>
                </a:cubicBezTo>
                <a:cubicBezTo>
                  <a:pt x="4519256" y="690462"/>
                  <a:pt x="4575026" y="644509"/>
                  <a:pt x="4601344" y="578040"/>
                </a:cubicBezTo>
                <a:cubicBezTo>
                  <a:pt x="4606903" y="563959"/>
                  <a:pt x="4620973" y="555120"/>
                  <a:pt x="4636043" y="555120"/>
                </a:cubicBezTo>
                <a:lnTo>
                  <a:pt x="4636043" y="555228"/>
                </a:lnTo>
                <a:lnTo>
                  <a:pt x="4771826" y="555228"/>
                </a:lnTo>
                <a:cubicBezTo>
                  <a:pt x="4746723" y="694607"/>
                  <a:pt x="4615742" y="823180"/>
                  <a:pt x="4405969" y="823180"/>
                </a:cubicBezTo>
                <a:cubicBezTo>
                  <a:pt x="4168011" y="823180"/>
                  <a:pt x="4008776" y="667542"/>
                  <a:pt x="4008013" y="409628"/>
                </a:cubicBezTo>
                <a:cubicBezTo>
                  <a:pt x="4007363" y="189370"/>
                  <a:pt x="4182216" y="4479"/>
                  <a:pt x="4402474" y="3495"/>
                </a:cubicBezTo>
                <a:close/>
                <a:moveTo>
                  <a:pt x="3613231" y="1527"/>
                </a:moveTo>
                <a:cubicBezTo>
                  <a:pt x="3740045" y="1527"/>
                  <a:pt x="3881064" y="72362"/>
                  <a:pt x="3907060" y="231715"/>
                </a:cubicBezTo>
                <a:cubicBezTo>
                  <a:pt x="3908576" y="241538"/>
                  <a:pt x="3906518" y="251689"/>
                  <a:pt x="3900715" y="259770"/>
                </a:cubicBezTo>
                <a:lnTo>
                  <a:pt x="3820934" y="372299"/>
                </a:lnTo>
                <a:lnTo>
                  <a:pt x="3820827" y="372299"/>
                </a:lnTo>
                <a:cubicBezTo>
                  <a:pt x="3799982" y="401768"/>
                  <a:pt x="3753487" y="386923"/>
                  <a:pt x="3753487" y="350799"/>
                </a:cubicBezTo>
                <a:lnTo>
                  <a:pt x="3753487" y="315325"/>
                </a:lnTo>
                <a:cubicBezTo>
                  <a:pt x="3753487" y="197118"/>
                  <a:pt x="3685694" y="140251"/>
                  <a:pt x="3575246" y="140251"/>
                </a:cubicBezTo>
                <a:cubicBezTo>
                  <a:pt x="3496008" y="140251"/>
                  <a:pt x="3428537" y="179762"/>
                  <a:pt x="3388715" y="234667"/>
                </a:cubicBezTo>
                <a:cubicBezTo>
                  <a:pt x="3381719" y="244269"/>
                  <a:pt x="3378117" y="255839"/>
                  <a:pt x="3378117" y="267625"/>
                </a:cubicBezTo>
                <a:lnTo>
                  <a:pt x="3378117" y="805825"/>
                </a:lnTo>
                <a:lnTo>
                  <a:pt x="3220398" y="805825"/>
                </a:lnTo>
                <a:lnTo>
                  <a:pt x="3220398" y="17355"/>
                </a:lnTo>
                <a:lnTo>
                  <a:pt x="3371795" y="17355"/>
                </a:lnTo>
                <a:cubicBezTo>
                  <a:pt x="3371795" y="59044"/>
                  <a:pt x="3355859" y="100739"/>
                  <a:pt x="3338289" y="133595"/>
                </a:cubicBezTo>
                <a:cubicBezTo>
                  <a:pt x="3328234" y="152041"/>
                  <a:pt x="3342654" y="174633"/>
                  <a:pt x="3364155" y="173321"/>
                </a:cubicBezTo>
                <a:cubicBezTo>
                  <a:pt x="3372994" y="172778"/>
                  <a:pt x="3380747" y="167649"/>
                  <a:pt x="3385763" y="160445"/>
                </a:cubicBezTo>
                <a:cubicBezTo>
                  <a:pt x="3424828" y="103798"/>
                  <a:pt x="3486388" y="1527"/>
                  <a:pt x="3613231" y="1527"/>
                </a:cubicBezTo>
                <a:close/>
                <a:moveTo>
                  <a:pt x="392713" y="1527"/>
                </a:moveTo>
                <a:cubicBezTo>
                  <a:pt x="519544" y="1527"/>
                  <a:pt x="660564" y="72362"/>
                  <a:pt x="686538" y="231715"/>
                </a:cubicBezTo>
                <a:cubicBezTo>
                  <a:pt x="688064" y="241538"/>
                  <a:pt x="685995" y="251689"/>
                  <a:pt x="680210" y="259770"/>
                </a:cubicBezTo>
                <a:lnTo>
                  <a:pt x="600423" y="372299"/>
                </a:lnTo>
                <a:cubicBezTo>
                  <a:pt x="579573" y="401768"/>
                  <a:pt x="533077" y="386923"/>
                  <a:pt x="533077" y="350799"/>
                </a:cubicBezTo>
                <a:lnTo>
                  <a:pt x="533077" y="315325"/>
                </a:lnTo>
                <a:cubicBezTo>
                  <a:pt x="533077" y="197118"/>
                  <a:pt x="465296" y="140251"/>
                  <a:pt x="354842" y="140251"/>
                </a:cubicBezTo>
                <a:cubicBezTo>
                  <a:pt x="275598" y="140251"/>
                  <a:pt x="208144" y="179762"/>
                  <a:pt x="168305" y="234667"/>
                </a:cubicBezTo>
                <a:cubicBezTo>
                  <a:pt x="161321" y="244269"/>
                  <a:pt x="157719" y="255839"/>
                  <a:pt x="157719" y="267625"/>
                </a:cubicBezTo>
                <a:lnTo>
                  <a:pt x="157719" y="805825"/>
                </a:lnTo>
                <a:lnTo>
                  <a:pt x="0" y="805825"/>
                </a:lnTo>
                <a:lnTo>
                  <a:pt x="0" y="17355"/>
                </a:lnTo>
                <a:lnTo>
                  <a:pt x="151277" y="17355"/>
                </a:lnTo>
                <a:cubicBezTo>
                  <a:pt x="151277" y="59044"/>
                  <a:pt x="135342" y="100739"/>
                  <a:pt x="117771" y="133595"/>
                </a:cubicBezTo>
                <a:cubicBezTo>
                  <a:pt x="107728" y="152041"/>
                  <a:pt x="122137" y="174633"/>
                  <a:pt x="143638" y="173321"/>
                </a:cubicBezTo>
                <a:cubicBezTo>
                  <a:pt x="152476" y="172778"/>
                  <a:pt x="160229" y="167649"/>
                  <a:pt x="165251" y="160445"/>
                </a:cubicBezTo>
                <a:cubicBezTo>
                  <a:pt x="204322" y="103798"/>
                  <a:pt x="265882" y="1527"/>
                  <a:pt x="392713" y="1527"/>
                </a:cubicBezTo>
                <a:close/>
                <a:moveTo>
                  <a:pt x="2734479" y="758"/>
                </a:moveTo>
                <a:cubicBezTo>
                  <a:pt x="2980512" y="758"/>
                  <a:pt x="3124025" y="158477"/>
                  <a:pt x="3124025" y="410821"/>
                </a:cubicBezTo>
                <a:cubicBezTo>
                  <a:pt x="3124025" y="663165"/>
                  <a:pt x="2978968" y="822411"/>
                  <a:pt x="2734479" y="822411"/>
                </a:cubicBezTo>
                <a:cubicBezTo>
                  <a:pt x="2490006" y="822411"/>
                  <a:pt x="2343405" y="664698"/>
                  <a:pt x="2343405" y="410821"/>
                </a:cubicBezTo>
                <a:cubicBezTo>
                  <a:pt x="2343405" y="158477"/>
                  <a:pt x="2488462" y="758"/>
                  <a:pt x="2734479" y="758"/>
                </a:cubicBezTo>
                <a:close/>
                <a:moveTo>
                  <a:pt x="1178355" y="758"/>
                </a:moveTo>
                <a:cubicBezTo>
                  <a:pt x="1424377" y="758"/>
                  <a:pt x="1567908" y="158477"/>
                  <a:pt x="1567908" y="410821"/>
                </a:cubicBezTo>
                <a:cubicBezTo>
                  <a:pt x="1567908" y="663165"/>
                  <a:pt x="1422850" y="822411"/>
                  <a:pt x="1178355" y="822411"/>
                </a:cubicBezTo>
                <a:cubicBezTo>
                  <a:pt x="933866" y="822411"/>
                  <a:pt x="787282" y="664698"/>
                  <a:pt x="787282" y="410821"/>
                </a:cubicBezTo>
                <a:cubicBezTo>
                  <a:pt x="787282" y="158477"/>
                  <a:pt x="932339" y="758"/>
                  <a:pt x="1178355" y="758"/>
                </a:cubicBezTo>
                <a:close/>
                <a:moveTo>
                  <a:pt x="6183435" y="0"/>
                </a:moveTo>
                <a:cubicBezTo>
                  <a:pt x="6371052" y="0"/>
                  <a:pt x="6486211" y="113513"/>
                  <a:pt x="6492550" y="257038"/>
                </a:cubicBezTo>
                <a:lnTo>
                  <a:pt x="6371052" y="257038"/>
                </a:lnTo>
                <a:cubicBezTo>
                  <a:pt x="6353595" y="257038"/>
                  <a:pt x="6338762" y="244818"/>
                  <a:pt x="6334832" y="227790"/>
                </a:cubicBezTo>
                <a:cubicBezTo>
                  <a:pt x="6318347" y="156735"/>
                  <a:pt x="6270099" y="124535"/>
                  <a:pt x="6183435" y="124535"/>
                </a:cubicBezTo>
                <a:cubicBezTo>
                  <a:pt x="6107692" y="124535"/>
                  <a:pt x="6039894" y="154445"/>
                  <a:pt x="6039894" y="219166"/>
                </a:cubicBezTo>
                <a:cubicBezTo>
                  <a:pt x="6039894" y="297969"/>
                  <a:pt x="6125042" y="324819"/>
                  <a:pt x="6191296" y="339008"/>
                </a:cubicBezTo>
                <a:cubicBezTo>
                  <a:pt x="6336353" y="369025"/>
                  <a:pt x="6514594" y="424144"/>
                  <a:pt x="6514594" y="596046"/>
                </a:cubicBezTo>
                <a:cubicBezTo>
                  <a:pt x="6514594" y="741103"/>
                  <a:pt x="6382085" y="823180"/>
                  <a:pt x="6197635" y="823180"/>
                </a:cubicBezTo>
                <a:cubicBezTo>
                  <a:pt x="6013162" y="823180"/>
                  <a:pt x="5875858" y="723861"/>
                  <a:pt x="5856965" y="555115"/>
                </a:cubicBezTo>
                <a:lnTo>
                  <a:pt x="5857072" y="555115"/>
                </a:lnTo>
                <a:lnTo>
                  <a:pt x="5984672" y="555115"/>
                </a:lnTo>
                <a:cubicBezTo>
                  <a:pt x="6000501" y="555115"/>
                  <a:pt x="6014791" y="565158"/>
                  <a:pt x="6019722" y="580116"/>
                </a:cubicBezTo>
                <a:cubicBezTo>
                  <a:pt x="6045475" y="659461"/>
                  <a:pt x="6112923" y="698538"/>
                  <a:pt x="6194570" y="698538"/>
                </a:cubicBezTo>
                <a:cubicBezTo>
                  <a:pt x="6286040" y="698538"/>
                  <a:pt x="6355461" y="674849"/>
                  <a:pt x="6355461" y="596046"/>
                </a:cubicBezTo>
                <a:cubicBezTo>
                  <a:pt x="6355461" y="517243"/>
                  <a:pt x="6281346" y="501420"/>
                  <a:pt x="6142499" y="471511"/>
                </a:cubicBezTo>
                <a:cubicBezTo>
                  <a:pt x="6017856" y="446301"/>
                  <a:pt x="5883826" y="375353"/>
                  <a:pt x="5883826" y="219166"/>
                </a:cubicBezTo>
                <a:cubicBezTo>
                  <a:pt x="5883826" y="62980"/>
                  <a:pt x="6038373" y="0"/>
                  <a:pt x="6183435" y="0"/>
                </a:cubicBezTo>
                <a:close/>
                <a:moveTo>
                  <a:pt x="5176541" y="0"/>
                </a:moveTo>
                <a:cubicBezTo>
                  <a:pt x="5364181" y="0"/>
                  <a:pt x="5479317" y="113513"/>
                  <a:pt x="5485656" y="257038"/>
                </a:cubicBezTo>
                <a:lnTo>
                  <a:pt x="5364181" y="257038"/>
                </a:lnTo>
                <a:cubicBezTo>
                  <a:pt x="5346724" y="257038"/>
                  <a:pt x="5331868" y="244818"/>
                  <a:pt x="5327937" y="227790"/>
                </a:cubicBezTo>
                <a:cubicBezTo>
                  <a:pt x="5311459" y="156735"/>
                  <a:pt x="5263204" y="124535"/>
                  <a:pt x="5176541" y="124535"/>
                </a:cubicBezTo>
                <a:cubicBezTo>
                  <a:pt x="5100798" y="124535"/>
                  <a:pt x="5033022" y="154445"/>
                  <a:pt x="5033022" y="219166"/>
                </a:cubicBezTo>
                <a:cubicBezTo>
                  <a:pt x="5033022" y="297969"/>
                  <a:pt x="5118147" y="324819"/>
                  <a:pt x="5184401" y="339008"/>
                </a:cubicBezTo>
                <a:cubicBezTo>
                  <a:pt x="5329459" y="369025"/>
                  <a:pt x="5507700" y="424144"/>
                  <a:pt x="5507700" y="596046"/>
                </a:cubicBezTo>
                <a:cubicBezTo>
                  <a:pt x="5507700" y="741103"/>
                  <a:pt x="5375191" y="823180"/>
                  <a:pt x="5190741" y="823180"/>
                </a:cubicBezTo>
                <a:cubicBezTo>
                  <a:pt x="5006268" y="823180"/>
                  <a:pt x="4868964" y="723861"/>
                  <a:pt x="4850093" y="555115"/>
                </a:cubicBezTo>
                <a:lnTo>
                  <a:pt x="4850200" y="555115"/>
                </a:lnTo>
                <a:lnTo>
                  <a:pt x="4977801" y="555115"/>
                </a:lnTo>
                <a:cubicBezTo>
                  <a:pt x="4993612" y="555115"/>
                  <a:pt x="5007919" y="565158"/>
                  <a:pt x="5012828" y="580116"/>
                </a:cubicBezTo>
                <a:cubicBezTo>
                  <a:pt x="5038581" y="659461"/>
                  <a:pt x="5106051" y="698538"/>
                  <a:pt x="5187681" y="698538"/>
                </a:cubicBezTo>
                <a:cubicBezTo>
                  <a:pt x="5279146" y="698538"/>
                  <a:pt x="5348567" y="674849"/>
                  <a:pt x="5348567" y="596046"/>
                </a:cubicBezTo>
                <a:cubicBezTo>
                  <a:pt x="5348567" y="517243"/>
                  <a:pt x="5274452" y="501420"/>
                  <a:pt x="5135627" y="471511"/>
                </a:cubicBezTo>
                <a:cubicBezTo>
                  <a:pt x="5010984" y="446301"/>
                  <a:pt x="4876932" y="375353"/>
                  <a:pt x="4876932" y="219166"/>
                </a:cubicBezTo>
                <a:cubicBezTo>
                  <a:pt x="4876932" y="62980"/>
                  <a:pt x="5031501" y="0"/>
                  <a:pt x="5176541" y="0"/>
                </a:cubicBezTo>
                <a:close/>
              </a:path>
            </a:pathLst>
          </a:custGeom>
          <a:solidFill>
            <a:srgbClr val="EFF1FF"/>
          </a:solidFill>
        </p:spPr>
        <p:txBody>
          <a:bodyPr wrap="square">
            <a:noAutofit/>
          </a:bodyPr>
          <a:lstStyle>
            <a:lvl1pPr marL="0" indent="0">
              <a:buFontTx/>
              <a:buNone/>
              <a:defRPr sz="800">
                <a:noFill/>
              </a:defRPr>
            </a:lvl1pPr>
          </a:lstStyle>
          <a:p>
            <a:pPr lvl="0"/>
            <a:r>
              <a:rPr lang="en-US" dirty="0"/>
              <a:t>10571432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5FE8F88D-A908-B6ED-13FD-3FCFE07AECF3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84915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x content + Image - Lilac">
    <p:bg>
      <p:bgPr>
        <a:solidFill>
          <a:srgbClr val="EFF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3C5A953A-D334-CE5A-7541-F822AE3D0BA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0"/>
            <a:ext cx="6096000" cy="6858000"/>
          </a:xfrm>
          <a:solidFill>
            <a:schemeClr val="accent6"/>
          </a:solidFill>
        </p:spPr>
        <p:txBody>
          <a:bodyPr bIns="612000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AD8A9E-9638-C71F-CB8F-4E16DB0C6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9" y="461950"/>
            <a:ext cx="5263893" cy="803297"/>
          </a:xfrm>
        </p:spPr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F51E3-AC28-6182-0248-C07BD511F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4000" y="6341361"/>
            <a:ext cx="4687892" cy="1384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0D5198A-3800-D0B3-184A-F7D437A2F4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313" y="1808163"/>
            <a:ext cx="5263893" cy="4186238"/>
          </a:xfrm>
        </p:spPr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  <a:lvl2pPr>
              <a:defRPr>
                <a:solidFill>
                  <a:srgbClr val="263140"/>
                </a:solidFill>
              </a:defRPr>
            </a:lvl2pPr>
            <a:lvl3pPr>
              <a:defRPr>
                <a:solidFill>
                  <a:srgbClr val="263140"/>
                </a:solidFill>
              </a:defRPr>
            </a:lvl3pPr>
            <a:lvl4pPr>
              <a:defRPr>
                <a:solidFill>
                  <a:srgbClr val="263140"/>
                </a:solidFill>
              </a:defRPr>
            </a:lvl4pPr>
            <a:lvl5pPr>
              <a:defRPr>
                <a:solidFill>
                  <a:srgbClr val="263140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4F13329F-1B57-70C4-5736-FC6A36F690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white">
          <a:xfrm>
            <a:off x="10742400" y="6350400"/>
            <a:ext cx="982876" cy="124498"/>
          </a:xfrm>
          <a:custGeom>
            <a:avLst/>
            <a:gdLst>
              <a:gd name="connsiteX0" fmla="*/ 3880054 w 6514594"/>
              <a:gd name="connsiteY0" fmla="*/ 421753 h 823180"/>
              <a:gd name="connsiteX1" fmla="*/ 3911313 w 6514594"/>
              <a:gd name="connsiteY1" fmla="*/ 458414 h 823180"/>
              <a:gd name="connsiteX2" fmla="*/ 3911313 w 6514594"/>
              <a:gd name="connsiteY2" fmla="*/ 805825 h 823180"/>
              <a:gd name="connsiteX3" fmla="*/ 3753594 w 6514594"/>
              <a:gd name="connsiteY3" fmla="*/ 805825 h 823180"/>
              <a:gd name="connsiteX4" fmla="*/ 3753594 w 6514594"/>
              <a:gd name="connsiteY4" fmla="*/ 575965 h 823180"/>
              <a:gd name="connsiteX5" fmla="*/ 3753594 w 6514594"/>
              <a:gd name="connsiteY5" fmla="*/ 575858 h 823180"/>
              <a:gd name="connsiteX6" fmla="*/ 3760459 w 6514594"/>
              <a:gd name="connsiteY6" fmla="*/ 554352 h 823180"/>
              <a:gd name="connsiteX7" fmla="*/ 3843956 w 6514594"/>
              <a:gd name="connsiteY7" fmla="*/ 436914 h 823180"/>
              <a:gd name="connsiteX8" fmla="*/ 3863320 w 6514594"/>
              <a:gd name="connsiteY8" fmla="*/ 422761 h 823180"/>
              <a:gd name="connsiteX9" fmla="*/ 3880054 w 6514594"/>
              <a:gd name="connsiteY9" fmla="*/ 421753 h 823180"/>
              <a:gd name="connsiteX10" fmla="*/ 659546 w 6514594"/>
              <a:gd name="connsiteY10" fmla="*/ 421753 h 823180"/>
              <a:gd name="connsiteX11" fmla="*/ 690796 w 6514594"/>
              <a:gd name="connsiteY11" fmla="*/ 458414 h 823180"/>
              <a:gd name="connsiteX12" fmla="*/ 690796 w 6514594"/>
              <a:gd name="connsiteY12" fmla="*/ 805825 h 823180"/>
              <a:gd name="connsiteX13" fmla="*/ 533077 w 6514594"/>
              <a:gd name="connsiteY13" fmla="*/ 805825 h 823180"/>
              <a:gd name="connsiteX14" fmla="*/ 533077 w 6514594"/>
              <a:gd name="connsiteY14" fmla="*/ 575965 h 823180"/>
              <a:gd name="connsiteX15" fmla="*/ 533077 w 6514594"/>
              <a:gd name="connsiteY15" fmla="*/ 575858 h 823180"/>
              <a:gd name="connsiteX16" fmla="*/ 539953 w 6514594"/>
              <a:gd name="connsiteY16" fmla="*/ 554352 h 823180"/>
              <a:gd name="connsiteX17" fmla="*/ 623450 w 6514594"/>
              <a:gd name="connsiteY17" fmla="*/ 436914 h 823180"/>
              <a:gd name="connsiteX18" fmla="*/ 642814 w 6514594"/>
              <a:gd name="connsiteY18" fmla="*/ 422761 h 823180"/>
              <a:gd name="connsiteX19" fmla="*/ 659546 w 6514594"/>
              <a:gd name="connsiteY19" fmla="*/ 421753 h 823180"/>
              <a:gd name="connsiteX20" fmla="*/ 5741899 w 6514594"/>
              <a:gd name="connsiteY20" fmla="*/ 266767 h 823180"/>
              <a:gd name="connsiteX21" fmla="*/ 5773146 w 6514594"/>
              <a:gd name="connsiteY21" fmla="*/ 303432 h 823180"/>
              <a:gd name="connsiteX22" fmla="*/ 5773146 w 6514594"/>
              <a:gd name="connsiteY22" fmla="*/ 805938 h 823180"/>
              <a:gd name="connsiteX23" fmla="*/ 5615427 w 6514594"/>
              <a:gd name="connsiteY23" fmla="*/ 805938 h 823180"/>
              <a:gd name="connsiteX24" fmla="*/ 5615427 w 6514594"/>
              <a:gd name="connsiteY24" fmla="*/ 420876 h 823180"/>
              <a:gd name="connsiteX25" fmla="*/ 5622309 w 6514594"/>
              <a:gd name="connsiteY25" fmla="*/ 399370 h 823180"/>
              <a:gd name="connsiteX26" fmla="*/ 5705806 w 6514594"/>
              <a:gd name="connsiteY26" fmla="*/ 281931 h 823180"/>
              <a:gd name="connsiteX27" fmla="*/ 5725169 w 6514594"/>
              <a:gd name="connsiteY27" fmla="*/ 267776 h 823180"/>
              <a:gd name="connsiteX28" fmla="*/ 5741899 w 6514594"/>
              <a:gd name="connsiteY28" fmla="*/ 266767 h 823180"/>
              <a:gd name="connsiteX29" fmla="*/ 4401173 w 6514594"/>
              <a:gd name="connsiteY29" fmla="*/ 136105 h 823180"/>
              <a:gd name="connsiteX30" fmla="*/ 4164301 w 6514594"/>
              <a:gd name="connsiteY30" fmla="*/ 338244 h 823180"/>
              <a:gd name="connsiteX31" fmla="*/ 4620645 w 6514594"/>
              <a:gd name="connsiteY31" fmla="*/ 338244 h 823180"/>
              <a:gd name="connsiteX32" fmla="*/ 4401173 w 6514594"/>
              <a:gd name="connsiteY32" fmla="*/ 136105 h 823180"/>
              <a:gd name="connsiteX33" fmla="*/ 2734586 w 6514594"/>
              <a:gd name="connsiteY33" fmla="*/ 123766 h 823180"/>
              <a:gd name="connsiteX34" fmla="*/ 2496430 w 6514594"/>
              <a:gd name="connsiteY34" fmla="*/ 410821 h 823180"/>
              <a:gd name="connsiteX35" fmla="*/ 2734586 w 6514594"/>
              <a:gd name="connsiteY35" fmla="*/ 699403 h 823180"/>
              <a:gd name="connsiteX36" fmla="*/ 2971108 w 6514594"/>
              <a:gd name="connsiteY36" fmla="*/ 410821 h 823180"/>
              <a:gd name="connsiteX37" fmla="*/ 2734586 w 6514594"/>
              <a:gd name="connsiteY37" fmla="*/ 123766 h 823180"/>
              <a:gd name="connsiteX38" fmla="*/ 1178468 w 6514594"/>
              <a:gd name="connsiteY38" fmla="*/ 123766 h 823180"/>
              <a:gd name="connsiteX39" fmla="*/ 940307 w 6514594"/>
              <a:gd name="connsiteY39" fmla="*/ 410821 h 823180"/>
              <a:gd name="connsiteX40" fmla="*/ 1178468 w 6514594"/>
              <a:gd name="connsiteY40" fmla="*/ 699403 h 823180"/>
              <a:gd name="connsiteX41" fmla="*/ 1414990 w 6514594"/>
              <a:gd name="connsiteY41" fmla="*/ 410821 h 823180"/>
              <a:gd name="connsiteX42" fmla="*/ 1178468 w 6514594"/>
              <a:gd name="connsiteY42" fmla="*/ 123766 h 823180"/>
              <a:gd name="connsiteX43" fmla="*/ 2185691 w 6514594"/>
              <a:gd name="connsiteY43" fmla="*/ 17462 h 823180"/>
              <a:gd name="connsiteX44" fmla="*/ 2353179 w 6514594"/>
              <a:gd name="connsiteY44" fmla="*/ 17462 h 823180"/>
              <a:gd name="connsiteX45" fmla="*/ 2335657 w 6514594"/>
              <a:gd name="connsiteY45" fmla="*/ 62216 h 823180"/>
              <a:gd name="connsiteX46" fmla="*/ 2043467 w 6514594"/>
              <a:gd name="connsiteY46" fmla="*/ 805830 h 823180"/>
              <a:gd name="connsiteX47" fmla="*/ 1867958 w 6514594"/>
              <a:gd name="connsiteY47" fmla="*/ 805830 h 823180"/>
              <a:gd name="connsiteX48" fmla="*/ 1760558 w 6514594"/>
              <a:gd name="connsiteY48" fmla="*/ 532528 h 823180"/>
              <a:gd name="connsiteX49" fmla="*/ 1764816 w 6514594"/>
              <a:gd name="connsiteY49" fmla="*/ 497489 h 823180"/>
              <a:gd name="connsiteX50" fmla="*/ 1812618 w 6514594"/>
              <a:gd name="connsiteY50" fmla="*/ 430257 h 823180"/>
              <a:gd name="connsiteX51" fmla="*/ 1878001 w 6514594"/>
              <a:gd name="connsiteY51" fmla="*/ 439859 h 823180"/>
              <a:gd name="connsiteX52" fmla="*/ 1922314 w 6514594"/>
              <a:gd name="connsiteY52" fmla="*/ 622573 h 823180"/>
              <a:gd name="connsiteX53" fmla="*/ 1954401 w 6514594"/>
              <a:gd name="connsiteY53" fmla="*/ 653133 h 823180"/>
              <a:gd name="connsiteX54" fmla="*/ 1955277 w 6514594"/>
              <a:gd name="connsiteY54" fmla="*/ 653133 h 823180"/>
              <a:gd name="connsiteX55" fmla="*/ 1987256 w 6514594"/>
              <a:gd name="connsiteY55" fmla="*/ 622573 h 823180"/>
              <a:gd name="connsiteX56" fmla="*/ 2048161 w 6514594"/>
              <a:gd name="connsiteY56" fmla="*/ 392928 h 823180"/>
              <a:gd name="connsiteX57" fmla="*/ 5615427 w 6514594"/>
              <a:gd name="connsiteY57" fmla="*/ 17457 h 823180"/>
              <a:gd name="connsiteX58" fmla="*/ 5773146 w 6514594"/>
              <a:gd name="connsiteY58" fmla="*/ 17457 h 823180"/>
              <a:gd name="connsiteX59" fmla="*/ 5773146 w 6514594"/>
              <a:gd name="connsiteY59" fmla="*/ 83491 h 823180"/>
              <a:gd name="connsiteX60" fmla="*/ 5767587 w 6514594"/>
              <a:gd name="connsiteY60" fmla="*/ 100846 h 823180"/>
              <a:gd name="connsiteX61" fmla="*/ 5682790 w 6514594"/>
              <a:gd name="connsiteY61" fmla="*/ 220359 h 823180"/>
              <a:gd name="connsiteX62" fmla="*/ 5615427 w 6514594"/>
              <a:gd name="connsiteY62" fmla="*/ 198859 h 823180"/>
              <a:gd name="connsiteX63" fmla="*/ 2353221 w 6514594"/>
              <a:gd name="connsiteY63" fmla="*/ 17355 h 823180"/>
              <a:gd name="connsiteX64" fmla="*/ 2353221 w 6514594"/>
              <a:gd name="connsiteY64" fmla="*/ 17462 h 823180"/>
              <a:gd name="connsiteX65" fmla="*/ 2353179 w 6514594"/>
              <a:gd name="connsiteY65" fmla="*/ 17462 h 823180"/>
              <a:gd name="connsiteX66" fmla="*/ 1558181 w 6514594"/>
              <a:gd name="connsiteY66" fmla="*/ 17355 h 823180"/>
              <a:gd name="connsiteX67" fmla="*/ 1727357 w 6514594"/>
              <a:gd name="connsiteY67" fmla="*/ 17355 h 823180"/>
              <a:gd name="connsiteX68" fmla="*/ 1824284 w 6514594"/>
              <a:gd name="connsiteY68" fmla="*/ 289017 h 823180"/>
              <a:gd name="connsiteX69" fmla="*/ 1824392 w 6514594"/>
              <a:gd name="connsiteY69" fmla="*/ 289017 h 823180"/>
              <a:gd name="connsiteX70" fmla="*/ 1819698 w 6514594"/>
              <a:gd name="connsiteY70" fmla="*/ 322964 h 823180"/>
              <a:gd name="connsiteX71" fmla="*/ 1768616 w 6514594"/>
              <a:gd name="connsiteY71" fmla="*/ 395004 h 823180"/>
              <a:gd name="connsiteX72" fmla="*/ 1703787 w 6514594"/>
              <a:gd name="connsiteY72" fmla="*/ 387143 h 823180"/>
              <a:gd name="connsiteX73" fmla="*/ 1558181 w 6514594"/>
              <a:gd name="connsiteY73" fmla="*/ 17355 h 823180"/>
              <a:gd name="connsiteX74" fmla="*/ 4402474 w 6514594"/>
              <a:gd name="connsiteY74" fmla="*/ 3495 h 823180"/>
              <a:gd name="connsiteX75" fmla="*/ 4783402 w 6514594"/>
              <a:gd name="connsiteY75" fmla="*/ 425128 h 823180"/>
              <a:gd name="connsiteX76" fmla="*/ 4783402 w 6514594"/>
              <a:gd name="connsiteY76" fmla="*/ 463000 h 823180"/>
              <a:gd name="connsiteX77" fmla="*/ 4162780 w 6514594"/>
              <a:gd name="connsiteY77" fmla="*/ 463000 h 823180"/>
              <a:gd name="connsiteX78" fmla="*/ 4401173 w 6514594"/>
              <a:gd name="connsiteY78" fmla="*/ 690462 h 823180"/>
              <a:gd name="connsiteX79" fmla="*/ 4601344 w 6514594"/>
              <a:gd name="connsiteY79" fmla="*/ 578040 h 823180"/>
              <a:gd name="connsiteX80" fmla="*/ 4636043 w 6514594"/>
              <a:gd name="connsiteY80" fmla="*/ 555120 h 823180"/>
              <a:gd name="connsiteX81" fmla="*/ 4636043 w 6514594"/>
              <a:gd name="connsiteY81" fmla="*/ 555228 h 823180"/>
              <a:gd name="connsiteX82" fmla="*/ 4771826 w 6514594"/>
              <a:gd name="connsiteY82" fmla="*/ 555228 h 823180"/>
              <a:gd name="connsiteX83" fmla="*/ 4405969 w 6514594"/>
              <a:gd name="connsiteY83" fmla="*/ 823180 h 823180"/>
              <a:gd name="connsiteX84" fmla="*/ 4008013 w 6514594"/>
              <a:gd name="connsiteY84" fmla="*/ 409628 h 823180"/>
              <a:gd name="connsiteX85" fmla="*/ 4402474 w 6514594"/>
              <a:gd name="connsiteY85" fmla="*/ 3495 h 823180"/>
              <a:gd name="connsiteX86" fmla="*/ 3613231 w 6514594"/>
              <a:gd name="connsiteY86" fmla="*/ 1527 h 823180"/>
              <a:gd name="connsiteX87" fmla="*/ 3907060 w 6514594"/>
              <a:gd name="connsiteY87" fmla="*/ 231715 h 823180"/>
              <a:gd name="connsiteX88" fmla="*/ 3900715 w 6514594"/>
              <a:gd name="connsiteY88" fmla="*/ 259770 h 823180"/>
              <a:gd name="connsiteX89" fmla="*/ 3820934 w 6514594"/>
              <a:gd name="connsiteY89" fmla="*/ 372299 h 823180"/>
              <a:gd name="connsiteX90" fmla="*/ 3820827 w 6514594"/>
              <a:gd name="connsiteY90" fmla="*/ 372299 h 823180"/>
              <a:gd name="connsiteX91" fmla="*/ 3753487 w 6514594"/>
              <a:gd name="connsiteY91" fmla="*/ 350799 h 823180"/>
              <a:gd name="connsiteX92" fmla="*/ 3753487 w 6514594"/>
              <a:gd name="connsiteY92" fmla="*/ 315325 h 823180"/>
              <a:gd name="connsiteX93" fmla="*/ 3575246 w 6514594"/>
              <a:gd name="connsiteY93" fmla="*/ 140251 h 823180"/>
              <a:gd name="connsiteX94" fmla="*/ 3388715 w 6514594"/>
              <a:gd name="connsiteY94" fmla="*/ 234667 h 823180"/>
              <a:gd name="connsiteX95" fmla="*/ 3378117 w 6514594"/>
              <a:gd name="connsiteY95" fmla="*/ 267625 h 823180"/>
              <a:gd name="connsiteX96" fmla="*/ 3378117 w 6514594"/>
              <a:gd name="connsiteY96" fmla="*/ 805825 h 823180"/>
              <a:gd name="connsiteX97" fmla="*/ 3220398 w 6514594"/>
              <a:gd name="connsiteY97" fmla="*/ 805825 h 823180"/>
              <a:gd name="connsiteX98" fmla="*/ 3220398 w 6514594"/>
              <a:gd name="connsiteY98" fmla="*/ 17355 h 823180"/>
              <a:gd name="connsiteX99" fmla="*/ 3371795 w 6514594"/>
              <a:gd name="connsiteY99" fmla="*/ 17355 h 823180"/>
              <a:gd name="connsiteX100" fmla="*/ 3338289 w 6514594"/>
              <a:gd name="connsiteY100" fmla="*/ 133595 h 823180"/>
              <a:gd name="connsiteX101" fmla="*/ 3364155 w 6514594"/>
              <a:gd name="connsiteY101" fmla="*/ 173321 h 823180"/>
              <a:gd name="connsiteX102" fmla="*/ 3385763 w 6514594"/>
              <a:gd name="connsiteY102" fmla="*/ 160445 h 823180"/>
              <a:gd name="connsiteX103" fmla="*/ 3613231 w 6514594"/>
              <a:gd name="connsiteY103" fmla="*/ 1527 h 823180"/>
              <a:gd name="connsiteX104" fmla="*/ 392713 w 6514594"/>
              <a:gd name="connsiteY104" fmla="*/ 1527 h 823180"/>
              <a:gd name="connsiteX105" fmla="*/ 686538 w 6514594"/>
              <a:gd name="connsiteY105" fmla="*/ 231715 h 823180"/>
              <a:gd name="connsiteX106" fmla="*/ 680210 w 6514594"/>
              <a:gd name="connsiteY106" fmla="*/ 259770 h 823180"/>
              <a:gd name="connsiteX107" fmla="*/ 600423 w 6514594"/>
              <a:gd name="connsiteY107" fmla="*/ 372299 h 823180"/>
              <a:gd name="connsiteX108" fmla="*/ 533077 w 6514594"/>
              <a:gd name="connsiteY108" fmla="*/ 350799 h 823180"/>
              <a:gd name="connsiteX109" fmla="*/ 533077 w 6514594"/>
              <a:gd name="connsiteY109" fmla="*/ 315325 h 823180"/>
              <a:gd name="connsiteX110" fmla="*/ 354842 w 6514594"/>
              <a:gd name="connsiteY110" fmla="*/ 140251 h 823180"/>
              <a:gd name="connsiteX111" fmla="*/ 168305 w 6514594"/>
              <a:gd name="connsiteY111" fmla="*/ 234667 h 823180"/>
              <a:gd name="connsiteX112" fmla="*/ 157719 w 6514594"/>
              <a:gd name="connsiteY112" fmla="*/ 267625 h 823180"/>
              <a:gd name="connsiteX113" fmla="*/ 157719 w 6514594"/>
              <a:gd name="connsiteY113" fmla="*/ 805825 h 823180"/>
              <a:gd name="connsiteX114" fmla="*/ 0 w 6514594"/>
              <a:gd name="connsiteY114" fmla="*/ 805825 h 823180"/>
              <a:gd name="connsiteX115" fmla="*/ 0 w 6514594"/>
              <a:gd name="connsiteY115" fmla="*/ 17355 h 823180"/>
              <a:gd name="connsiteX116" fmla="*/ 151277 w 6514594"/>
              <a:gd name="connsiteY116" fmla="*/ 17355 h 823180"/>
              <a:gd name="connsiteX117" fmla="*/ 117771 w 6514594"/>
              <a:gd name="connsiteY117" fmla="*/ 133595 h 823180"/>
              <a:gd name="connsiteX118" fmla="*/ 143638 w 6514594"/>
              <a:gd name="connsiteY118" fmla="*/ 173321 h 823180"/>
              <a:gd name="connsiteX119" fmla="*/ 165251 w 6514594"/>
              <a:gd name="connsiteY119" fmla="*/ 160445 h 823180"/>
              <a:gd name="connsiteX120" fmla="*/ 392713 w 6514594"/>
              <a:gd name="connsiteY120" fmla="*/ 1527 h 823180"/>
              <a:gd name="connsiteX121" fmla="*/ 2734479 w 6514594"/>
              <a:gd name="connsiteY121" fmla="*/ 758 h 823180"/>
              <a:gd name="connsiteX122" fmla="*/ 3124025 w 6514594"/>
              <a:gd name="connsiteY122" fmla="*/ 410821 h 823180"/>
              <a:gd name="connsiteX123" fmla="*/ 2734479 w 6514594"/>
              <a:gd name="connsiteY123" fmla="*/ 822411 h 823180"/>
              <a:gd name="connsiteX124" fmla="*/ 2343405 w 6514594"/>
              <a:gd name="connsiteY124" fmla="*/ 410821 h 823180"/>
              <a:gd name="connsiteX125" fmla="*/ 2734479 w 6514594"/>
              <a:gd name="connsiteY125" fmla="*/ 758 h 823180"/>
              <a:gd name="connsiteX126" fmla="*/ 1178355 w 6514594"/>
              <a:gd name="connsiteY126" fmla="*/ 758 h 823180"/>
              <a:gd name="connsiteX127" fmla="*/ 1567908 w 6514594"/>
              <a:gd name="connsiteY127" fmla="*/ 410821 h 823180"/>
              <a:gd name="connsiteX128" fmla="*/ 1178355 w 6514594"/>
              <a:gd name="connsiteY128" fmla="*/ 822411 h 823180"/>
              <a:gd name="connsiteX129" fmla="*/ 787282 w 6514594"/>
              <a:gd name="connsiteY129" fmla="*/ 410821 h 823180"/>
              <a:gd name="connsiteX130" fmla="*/ 1178355 w 6514594"/>
              <a:gd name="connsiteY130" fmla="*/ 758 h 823180"/>
              <a:gd name="connsiteX131" fmla="*/ 6183435 w 6514594"/>
              <a:gd name="connsiteY131" fmla="*/ 0 h 823180"/>
              <a:gd name="connsiteX132" fmla="*/ 6492550 w 6514594"/>
              <a:gd name="connsiteY132" fmla="*/ 257038 h 823180"/>
              <a:gd name="connsiteX133" fmla="*/ 6371052 w 6514594"/>
              <a:gd name="connsiteY133" fmla="*/ 257038 h 823180"/>
              <a:gd name="connsiteX134" fmla="*/ 6334832 w 6514594"/>
              <a:gd name="connsiteY134" fmla="*/ 227790 h 823180"/>
              <a:gd name="connsiteX135" fmla="*/ 6183435 w 6514594"/>
              <a:gd name="connsiteY135" fmla="*/ 124535 h 823180"/>
              <a:gd name="connsiteX136" fmla="*/ 6039894 w 6514594"/>
              <a:gd name="connsiteY136" fmla="*/ 219166 h 823180"/>
              <a:gd name="connsiteX137" fmla="*/ 6191296 w 6514594"/>
              <a:gd name="connsiteY137" fmla="*/ 339008 h 823180"/>
              <a:gd name="connsiteX138" fmla="*/ 6514594 w 6514594"/>
              <a:gd name="connsiteY138" fmla="*/ 596046 h 823180"/>
              <a:gd name="connsiteX139" fmla="*/ 6197635 w 6514594"/>
              <a:gd name="connsiteY139" fmla="*/ 823180 h 823180"/>
              <a:gd name="connsiteX140" fmla="*/ 5856965 w 6514594"/>
              <a:gd name="connsiteY140" fmla="*/ 555115 h 823180"/>
              <a:gd name="connsiteX141" fmla="*/ 5857072 w 6514594"/>
              <a:gd name="connsiteY141" fmla="*/ 555115 h 823180"/>
              <a:gd name="connsiteX142" fmla="*/ 5984672 w 6514594"/>
              <a:gd name="connsiteY142" fmla="*/ 555115 h 823180"/>
              <a:gd name="connsiteX143" fmla="*/ 6019722 w 6514594"/>
              <a:gd name="connsiteY143" fmla="*/ 580116 h 823180"/>
              <a:gd name="connsiteX144" fmla="*/ 6194570 w 6514594"/>
              <a:gd name="connsiteY144" fmla="*/ 698538 h 823180"/>
              <a:gd name="connsiteX145" fmla="*/ 6355461 w 6514594"/>
              <a:gd name="connsiteY145" fmla="*/ 596046 h 823180"/>
              <a:gd name="connsiteX146" fmla="*/ 6142499 w 6514594"/>
              <a:gd name="connsiteY146" fmla="*/ 471511 h 823180"/>
              <a:gd name="connsiteX147" fmla="*/ 5883826 w 6514594"/>
              <a:gd name="connsiteY147" fmla="*/ 219166 h 823180"/>
              <a:gd name="connsiteX148" fmla="*/ 6183435 w 6514594"/>
              <a:gd name="connsiteY148" fmla="*/ 0 h 823180"/>
              <a:gd name="connsiteX149" fmla="*/ 5176541 w 6514594"/>
              <a:gd name="connsiteY149" fmla="*/ 0 h 823180"/>
              <a:gd name="connsiteX150" fmla="*/ 5485656 w 6514594"/>
              <a:gd name="connsiteY150" fmla="*/ 257038 h 823180"/>
              <a:gd name="connsiteX151" fmla="*/ 5364181 w 6514594"/>
              <a:gd name="connsiteY151" fmla="*/ 257038 h 823180"/>
              <a:gd name="connsiteX152" fmla="*/ 5327937 w 6514594"/>
              <a:gd name="connsiteY152" fmla="*/ 227790 h 823180"/>
              <a:gd name="connsiteX153" fmla="*/ 5176541 w 6514594"/>
              <a:gd name="connsiteY153" fmla="*/ 124535 h 823180"/>
              <a:gd name="connsiteX154" fmla="*/ 5033022 w 6514594"/>
              <a:gd name="connsiteY154" fmla="*/ 219166 h 823180"/>
              <a:gd name="connsiteX155" fmla="*/ 5184401 w 6514594"/>
              <a:gd name="connsiteY155" fmla="*/ 339008 h 823180"/>
              <a:gd name="connsiteX156" fmla="*/ 5507700 w 6514594"/>
              <a:gd name="connsiteY156" fmla="*/ 596046 h 823180"/>
              <a:gd name="connsiteX157" fmla="*/ 5190741 w 6514594"/>
              <a:gd name="connsiteY157" fmla="*/ 823180 h 823180"/>
              <a:gd name="connsiteX158" fmla="*/ 4850093 w 6514594"/>
              <a:gd name="connsiteY158" fmla="*/ 555115 h 823180"/>
              <a:gd name="connsiteX159" fmla="*/ 4850200 w 6514594"/>
              <a:gd name="connsiteY159" fmla="*/ 555115 h 823180"/>
              <a:gd name="connsiteX160" fmla="*/ 4977801 w 6514594"/>
              <a:gd name="connsiteY160" fmla="*/ 555115 h 823180"/>
              <a:gd name="connsiteX161" fmla="*/ 5012828 w 6514594"/>
              <a:gd name="connsiteY161" fmla="*/ 580116 h 823180"/>
              <a:gd name="connsiteX162" fmla="*/ 5187681 w 6514594"/>
              <a:gd name="connsiteY162" fmla="*/ 698538 h 823180"/>
              <a:gd name="connsiteX163" fmla="*/ 5348567 w 6514594"/>
              <a:gd name="connsiteY163" fmla="*/ 596046 h 823180"/>
              <a:gd name="connsiteX164" fmla="*/ 5135627 w 6514594"/>
              <a:gd name="connsiteY164" fmla="*/ 471511 h 823180"/>
              <a:gd name="connsiteX165" fmla="*/ 4876932 w 6514594"/>
              <a:gd name="connsiteY165" fmla="*/ 219166 h 823180"/>
              <a:gd name="connsiteX166" fmla="*/ 5176541 w 6514594"/>
              <a:gd name="connsiteY166" fmla="*/ 0 h 82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6514594" h="823180">
                <a:moveTo>
                  <a:pt x="3880054" y="421753"/>
                </a:moveTo>
                <a:cubicBezTo>
                  <a:pt x="3896630" y="424507"/>
                  <a:pt x="3911313" y="438094"/>
                  <a:pt x="3911313" y="458414"/>
                </a:cubicBezTo>
                <a:lnTo>
                  <a:pt x="3911313" y="805825"/>
                </a:lnTo>
                <a:lnTo>
                  <a:pt x="3753594" y="805825"/>
                </a:lnTo>
                <a:lnTo>
                  <a:pt x="3753594" y="575965"/>
                </a:lnTo>
                <a:lnTo>
                  <a:pt x="3753594" y="575858"/>
                </a:lnTo>
                <a:cubicBezTo>
                  <a:pt x="3753594" y="568105"/>
                  <a:pt x="3755986" y="560685"/>
                  <a:pt x="3760459" y="554352"/>
                </a:cubicBezTo>
                <a:lnTo>
                  <a:pt x="3843956" y="436914"/>
                </a:lnTo>
                <a:cubicBezTo>
                  <a:pt x="3849194" y="429546"/>
                  <a:pt x="3856023" y="424949"/>
                  <a:pt x="3863320" y="422761"/>
                </a:cubicBezTo>
                <a:cubicBezTo>
                  <a:pt x="3868793" y="421120"/>
                  <a:pt x="3874528" y="420835"/>
                  <a:pt x="3880054" y="421753"/>
                </a:cubicBezTo>
                <a:close/>
                <a:moveTo>
                  <a:pt x="659546" y="421753"/>
                </a:moveTo>
                <a:cubicBezTo>
                  <a:pt x="676118" y="424507"/>
                  <a:pt x="690796" y="438094"/>
                  <a:pt x="690796" y="458414"/>
                </a:cubicBezTo>
                <a:lnTo>
                  <a:pt x="690796" y="805825"/>
                </a:lnTo>
                <a:lnTo>
                  <a:pt x="533077" y="805825"/>
                </a:lnTo>
                <a:lnTo>
                  <a:pt x="533077" y="575965"/>
                </a:lnTo>
                <a:lnTo>
                  <a:pt x="533077" y="575858"/>
                </a:lnTo>
                <a:cubicBezTo>
                  <a:pt x="533077" y="568105"/>
                  <a:pt x="535480" y="560685"/>
                  <a:pt x="539953" y="554352"/>
                </a:cubicBezTo>
                <a:lnTo>
                  <a:pt x="623450" y="436914"/>
                </a:lnTo>
                <a:cubicBezTo>
                  <a:pt x="628689" y="429546"/>
                  <a:pt x="635518" y="424949"/>
                  <a:pt x="642814" y="422761"/>
                </a:cubicBezTo>
                <a:cubicBezTo>
                  <a:pt x="648286" y="421120"/>
                  <a:pt x="654021" y="420835"/>
                  <a:pt x="659546" y="421753"/>
                </a:cubicBezTo>
                <a:close/>
                <a:moveTo>
                  <a:pt x="5741899" y="266767"/>
                </a:moveTo>
                <a:cubicBezTo>
                  <a:pt x="5758470" y="269521"/>
                  <a:pt x="5773146" y="283109"/>
                  <a:pt x="5773146" y="303432"/>
                </a:cubicBezTo>
                <a:lnTo>
                  <a:pt x="5773146" y="805938"/>
                </a:lnTo>
                <a:lnTo>
                  <a:pt x="5615427" y="805938"/>
                </a:lnTo>
                <a:lnTo>
                  <a:pt x="5615427" y="420876"/>
                </a:lnTo>
                <a:cubicBezTo>
                  <a:pt x="5615427" y="413123"/>
                  <a:pt x="5617836" y="405703"/>
                  <a:pt x="5622309" y="399370"/>
                </a:cubicBezTo>
                <a:lnTo>
                  <a:pt x="5705806" y="281931"/>
                </a:lnTo>
                <a:cubicBezTo>
                  <a:pt x="5711045" y="274563"/>
                  <a:pt x="5717874" y="269964"/>
                  <a:pt x="5725169" y="267776"/>
                </a:cubicBezTo>
                <a:cubicBezTo>
                  <a:pt x="5730641" y="266134"/>
                  <a:pt x="5736375" y="265849"/>
                  <a:pt x="5741899" y="266767"/>
                </a:cubicBezTo>
                <a:close/>
                <a:moveTo>
                  <a:pt x="4401173" y="136105"/>
                </a:moveTo>
                <a:cubicBezTo>
                  <a:pt x="4266906" y="136105"/>
                  <a:pt x="4176849" y="234011"/>
                  <a:pt x="4164301" y="338244"/>
                </a:cubicBezTo>
                <a:lnTo>
                  <a:pt x="4620645" y="338244"/>
                </a:lnTo>
                <a:cubicBezTo>
                  <a:pt x="4608096" y="246672"/>
                  <a:pt x="4536933" y="136105"/>
                  <a:pt x="4401173" y="136105"/>
                </a:cubicBezTo>
                <a:close/>
                <a:moveTo>
                  <a:pt x="2734586" y="123766"/>
                </a:moveTo>
                <a:cubicBezTo>
                  <a:pt x="2581685" y="123766"/>
                  <a:pt x="2496430" y="249941"/>
                  <a:pt x="2496430" y="410821"/>
                </a:cubicBezTo>
                <a:cubicBezTo>
                  <a:pt x="2496430" y="571701"/>
                  <a:pt x="2578406" y="699403"/>
                  <a:pt x="2734586" y="699403"/>
                </a:cubicBezTo>
                <a:cubicBezTo>
                  <a:pt x="2890784" y="699403"/>
                  <a:pt x="2971108" y="571701"/>
                  <a:pt x="2971108" y="410821"/>
                </a:cubicBezTo>
                <a:cubicBezTo>
                  <a:pt x="2971108" y="249941"/>
                  <a:pt x="2887504" y="123766"/>
                  <a:pt x="2734586" y="123766"/>
                </a:cubicBezTo>
                <a:close/>
                <a:moveTo>
                  <a:pt x="1178468" y="123766"/>
                </a:moveTo>
                <a:cubicBezTo>
                  <a:pt x="1025551" y="123766"/>
                  <a:pt x="940307" y="249941"/>
                  <a:pt x="940307" y="410821"/>
                </a:cubicBezTo>
                <a:cubicBezTo>
                  <a:pt x="940307" y="571701"/>
                  <a:pt x="1022276" y="699403"/>
                  <a:pt x="1178468" y="699403"/>
                </a:cubicBezTo>
                <a:cubicBezTo>
                  <a:pt x="1334660" y="699403"/>
                  <a:pt x="1414990" y="571701"/>
                  <a:pt x="1414990" y="410821"/>
                </a:cubicBezTo>
                <a:cubicBezTo>
                  <a:pt x="1414990" y="249941"/>
                  <a:pt x="1331380" y="123766"/>
                  <a:pt x="1178468" y="123766"/>
                </a:cubicBezTo>
                <a:close/>
                <a:moveTo>
                  <a:pt x="2185691" y="17462"/>
                </a:moveTo>
                <a:lnTo>
                  <a:pt x="2353179" y="17462"/>
                </a:lnTo>
                <a:lnTo>
                  <a:pt x="2335657" y="62216"/>
                </a:lnTo>
                <a:lnTo>
                  <a:pt x="2043467" y="805830"/>
                </a:lnTo>
                <a:lnTo>
                  <a:pt x="1867958" y="805830"/>
                </a:lnTo>
                <a:lnTo>
                  <a:pt x="1760558" y="532528"/>
                </a:lnTo>
                <a:cubicBezTo>
                  <a:pt x="1755971" y="520850"/>
                  <a:pt x="1757611" y="507640"/>
                  <a:pt x="1764816" y="497489"/>
                </a:cubicBezTo>
                <a:lnTo>
                  <a:pt x="1812618" y="430257"/>
                </a:lnTo>
                <a:cubicBezTo>
                  <a:pt x="1830194" y="405590"/>
                  <a:pt x="1868286" y="411047"/>
                  <a:pt x="1878001" y="439859"/>
                </a:cubicBezTo>
                <a:cubicBezTo>
                  <a:pt x="1896448" y="494651"/>
                  <a:pt x="1919255" y="570943"/>
                  <a:pt x="1922314" y="622573"/>
                </a:cubicBezTo>
                <a:cubicBezTo>
                  <a:pt x="1923298" y="639708"/>
                  <a:pt x="1937158" y="653133"/>
                  <a:pt x="1954401" y="653133"/>
                </a:cubicBezTo>
                <a:lnTo>
                  <a:pt x="1955277" y="653133"/>
                </a:lnTo>
                <a:cubicBezTo>
                  <a:pt x="1972412" y="653133"/>
                  <a:pt x="1986272" y="639600"/>
                  <a:pt x="1987256" y="622573"/>
                </a:cubicBezTo>
                <a:cubicBezTo>
                  <a:pt x="1992385" y="533834"/>
                  <a:pt x="2019671" y="471075"/>
                  <a:pt x="2048161" y="392928"/>
                </a:cubicBezTo>
                <a:close/>
                <a:moveTo>
                  <a:pt x="5615427" y="17457"/>
                </a:moveTo>
                <a:lnTo>
                  <a:pt x="5773146" y="17457"/>
                </a:lnTo>
                <a:lnTo>
                  <a:pt x="5773146" y="83491"/>
                </a:lnTo>
                <a:cubicBezTo>
                  <a:pt x="5773146" y="89711"/>
                  <a:pt x="5771189" y="95824"/>
                  <a:pt x="5767587" y="100846"/>
                </a:cubicBezTo>
                <a:lnTo>
                  <a:pt x="5682790" y="220359"/>
                </a:lnTo>
                <a:cubicBezTo>
                  <a:pt x="5661940" y="249828"/>
                  <a:pt x="5615427" y="234983"/>
                  <a:pt x="5615427" y="198859"/>
                </a:cubicBezTo>
                <a:close/>
                <a:moveTo>
                  <a:pt x="2353221" y="17355"/>
                </a:moveTo>
                <a:lnTo>
                  <a:pt x="2353221" y="17462"/>
                </a:lnTo>
                <a:lnTo>
                  <a:pt x="2353179" y="17462"/>
                </a:lnTo>
                <a:close/>
                <a:moveTo>
                  <a:pt x="1558181" y="17355"/>
                </a:moveTo>
                <a:lnTo>
                  <a:pt x="1727357" y="17355"/>
                </a:lnTo>
                <a:lnTo>
                  <a:pt x="1824284" y="289017"/>
                </a:lnTo>
                <a:lnTo>
                  <a:pt x="1824392" y="289017"/>
                </a:lnTo>
                <a:cubicBezTo>
                  <a:pt x="1828429" y="300373"/>
                  <a:pt x="1826682" y="313142"/>
                  <a:pt x="1819698" y="322964"/>
                </a:cubicBezTo>
                <a:lnTo>
                  <a:pt x="1768616" y="395004"/>
                </a:lnTo>
                <a:cubicBezTo>
                  <a:pt x="1751589" y="419015"/>
                  <a:pt x="1714588" y="414536"/>
                  <a:pt x="1703787" y="387143"/>
                </a:cubicBezTo>
                <a:cubicBezTo>
                  <a:pt x="1654232" y="261189"/>
                  <a:pt x="1558181" y="17355"/>
                  <a:pt x="1558181" y="17355"/>
                </a:cubicBezTo>
                <a:close/>
                <a:moveTo>
                  <a:pt x="4402474" y="3495"/>
                </a:moveTo>
                <a:cubicBezTo>
                  <a:pt x="4661146" y="2296"/>
                  <a:pt x="4783402" y="230408"/>
                  <a:pt x="4783402" y="425128"/>
                </a:cubicBezTo>
                <a:lnTo>
                  <a:pt x="4783402" y="463000"/>
                </a:lnTo>
                <a:lnTo>
                  <a:pt x="4162780" y="463000"/>
                </a:lnTo>
                <a:cubicBezTo>
                  <a:pt x="4162780" y="530889"/>
                  <a:pt x="4217894" y="690462"/>
                  <a:pt x="4401173" y="690462"/>
                </a:cubicBezTo>
                <a:cubicBezTo>
                  <a:pt x="4519256" y="690462"/>
                  <a:pt x="4575026" y="644509"/>
                  <a:pt x="4601344" y="578040"/>
                </a:cubicBezTo>
                <a:cubicBezTo>
                  <a:pt x="4606903" y="563959"/>
                  <a:pt x="4620973" y="555120"/>
                  <a:pt x="4636043" y="555120"/>
                </a:cubicBezTo>
                <a:lnTo>
                  <a:pt x="4636043" y="555228"/>
                </a:lnTo>
                <a:lnTo>
                  <a:pt x="4771826" y="555228"/>
                </a:lnTo>
                <a:cubicBezTo>
                  <a:pt x="4746723" y="694607"/>
                  <a:pt x="4615742" y="823180"/>
                  <a:pt x="4405969" y="823180"/>
                </a:cubicBezTo>
                <a:cubicBezTo>
                  <a:pt x="4168011" y="823180"/>
                  <a:pt x="4008776" y="667542"/>
                  <a:pt x="4008013" y="409628"/>
                </a:cubicBezTo>
                <a:cubicBezTo>
                  <a:pt x="4007363" y="189370"/>
                  <a:pt x="4182216" y="4479"/>
                  <a:pt x="4402474" y="3495"/>
                </a:cubicBezTo>
                <a:close/>
                <a:moveTo>
                  <a:pt x="3613231" y="1527"/>
                </a:moveTo>
                <a:cubicBezTo>
                  <a:pt x="3740045" y="1527"/>
                  <a:pt x="3881064" y="72362"/>
                  <a:pt x="3907060" y="231715"/>
                </a:cubicBezTo>
                <a:cubicBezTo>
                  <a:pt x="3908576" y="241538"/>
                  <a:pt x="3906518" y="251689"/>
                  <a:pt x="3900715" y="259770"/>
                </a:cubicBezTo>
                <a:lnTo>
                  <a:pt x="3820934" y="372299"/>
                </a:lnTo>
                <a:lnTo>
                  <a:pt x="3820827" y="372299"/>
                </a:lnTo>
                <a:cubicBezTo>
                  <a:pt x="3799982" y="401768"/>
                  <a:pt x="3753487" y="386923"/>
                  <a:pt x="3753487" y="350799"/>
                </a:cubicBezTo>
                <a:lnTo>
                  <a:pt x="3753487" y="315325"/>
                </a:lnTo>
                <a:cubicBezTo>
                  <a:pt x="3753487" y="197118"/>
                  <a:pt x="3685694" y="140251"/>
                  <a:pt x="3575246" y="140251"/>
                </a:cubicBezTo>
                <a:cubicBezTo>
                  <a:pt x="3496008" y="140251"/>
                  <a:pt x="3428537" y="179762"/>
                  <a:pt x="3388715" y="234667"/>
                </a:cubicBezTo>
                <a:cubicBezTo>
                  <a:pt x="3381719" y="244269"/>
                  <a:pt x="3378117" y="255839"/>
                  <a:pt x="3378117" y="267625"/>
                </a:cubicBezTo>
                <a:lnTo>
                  <a:pt x="3378117" y="805825"/>
                </a:lnTo>
                <a:lnTo>
                  <a:pt x="3220398" y="805825"/>
                </a:lnTo>
                <a:lnTo>
                  <a:pt x="3220398" y="17355"/>
                </a:lnTo>
                <a:lnTo>
                  <a:pt x="3371795" y="17355"/>
                </a:lnTo>
                <a:cubicBezTo>
                  <a:pt x="3371795" y="59044"/>
                  <a:pt x="3355859" y="100739"/>
                  <a:pt x="3338289" y="133595"/>
                </a:cubicBezTo>
                <a:cubicBezTo>
                  <a:pt x="3328234" y="152041"/>
                  <a:pt x="3342654" y="174633"/>
                  <a:pt x="3364155" y="173321"/>
                </a:cubicBezTo>
                <a:cubicBezTo>
                  <a:pt x="3372994" y="172778"/>
                  <a:pt x="3380747" y="167649"/>
                  <a:pt x="3385763" y="160445"/>
                </a:cubicBezTo>
                <a:cubicBezTo>
                  <a:pt x="3424828" y="103798"/>
                  <a:pt x="3486388" y="1527"/>
                  <a:pt x="3613231" y="1527"/>
                </a:cubicBezTo>
                <a:close/>
                <a:moveTo>
                  <a:pt x="392713" y="1527"/>
                </a:moveTo>
                <a:cubicBezTo>
                  <a:pt x="519544" y="1527"/>
                  <a:pt x="660564" y="72362"/>
                  <a:pt x="686538" y="231715"/>
                </a:cubicBezTo>
                <a:cubicBezTo>
                  <a:pt x="688064" y="241538"/>
                  <a:pt x="685995" y="251689"/>
                  <a:pt x="680210" y="259770"/>
                </a:cubicBezTo>
                <a:lnTo>
                  <a:pt x="600423" y="372299"/>
                </a:lnTo>
                <a:cubicBezTo>
                  <a:pt x="579573" y="401768"/>
                  <a:pt x="533077" y="386923"/>
                  <a:pt x="533077" y="350799"/>
                </a:cubicBezTo>
                <a:lnTo>
                  <a:pt x="533077" y="315325"/>
                </a:lnTo>
                <a:cubicBezTo>
                  <a:pt x="533077" y="197118"/>
                  <a:pt x="465296" y="140251"/>
                  <a:pt x="354842" y="140251"/>
                </a:cubicBezTo>
                <a:cubicBezTo>
                  <a:pt x="275598" y="140251"/>
                  <a:pt x="208144" y="179762"/>
                  <a:pt x="168305" y="234667"/>
                </a:cubicBezTo>
                <a:cubicBezTo>
                  <a:pt x="161321" y="244269"/>
                  <a:pt x="157719" y="255839"/>
                  <a:pt x="157719" y="267625"/>
                </a:cubicBezTo>
                <a:lnTo>
                  <a:pt x="157719" y="805825"/>
                </a:lnTo>
                <a:lnTo>
                  <a:pt x="0" y="805825"/>
                </a:lnTo>
                <a:lnTo>
                  <a:pt x="0" y="17355"/>
                </a:lnTo>
                <a:lnTo>
                  <a:pt x="151277" y="17355"/>
                </a:lnTo>
                <a:cubicBezTo>
                  <a:pt x="151277" y="59044"/>
                  <a:pt x="135342" y="100739"/>
                  <a:pt x="117771" y="133595"/>
                </a:cubicBezTo>
                <a:cubicBezTo>
                  <a:pt x="107728" y="152041"/>
                  <a:pt x="122137" y="174633"/>
                  <a:pt x="143638" y="173321"/>
                </a:cubicBezTo>
                <a:cubicBezTo>
                  <a:pt x="152476" y="172778"/>
                  <a:pt x="160229" y="167649"/>
                  <a:pt x="165251" y="160445"/>
                </a:cubicBezTo>
                <a:cubicBezTo>
                  <a:pt x="204322" y="103798"/>
                  <a:pt x="265882" y="1527"/>
                  <a:pt x="392713" y="1527"/>
                </a:cubicBezTo>
                <a:close/>
                <a:moveTo>
                  <a:pt x="2734479" y="758"/>
                </a:moveTo>
                <a:cubicBezTo>
                  <a:pt x="2980512" y="758"/>
                  <a:pt x="3124025" y="158477"/>
                  <a:pt x="3124025" y="410821"/>
                </a:cubicBezTo>
                <a:cubicBezTo>
                  <a:pt x="3124025" y="663165"/>
                  <a:pt x="2978968" y="822411"/>
                  <a:pt x="2734479" y="822411"/>
                </a:cubicBezTo>
                <a:cubicBezTo>
                  <a:pt x="2490006" y="822411"/>
                  <a:pt x="2343405" y="664698"/>
                  <a:pt x="2343405" y="410821"/>
                </a:cubicBezTo>
                <a:cubicBezTo>
                  <a:pt x="2343405" y="158477"/>
                  <a:pt x="2488462" y="758"/>
                  <a:pt x="2734479" y="758"/>
                </a:cubicBezTo>
                <a:close/>
                <a:moveTo>
                  <a:pt x="1178355" y="758"/>
                </a:moveTo>
                <a:cubicBezTo>
                  <a:pt x="1424377" y="758"/>
                  <a:pt x="1567908" y="158477"/>
                  <a:pt x="1567908" y="410821"/>
                </a:cubicBezTo>
                <a:cubicBezTo>
                  <a:pt x="1567908" y="663165"/>
                  <a:pt x="1422850" y="822411"/>
                  <a:pt x="1178355" y="822411"/>
                </a:cubicBezTo>
                <a:cubicBezTo>
                  <a:pt x="933866" y="822411"/>
                  <a:pt x="787282" y="664698"/>
                  <a:pt x="787282" y="410821"/>
                </a:cubicBezTo>
                <a:cubicBezTo>
                  <a:pt x="787282" y="158477"/>
                  <a:pt x="932339" y="758"/>
                  <a:pt x="1178355" y="758"/>
                </a:cubicBezTo>
                <a:close/>
                <a:moveTo>
                  <a:pt x="6183435" y="0"/>
                </a:moveTo>
                <a:cubicBezTo>
                  <a:pt x="6371052" y="0"/>
                  <a:pt x="6486211" y="113513"/>
                  <a:pt x="6492550" y="257038"/>
                </a:cubicBezTo>
                <a:lnTo>
                  <a:pt x="6371052" y="257038"/>
                </a:lnTo>
                <a:cubicBezTo>
                  <a:pt x="6353595" y="257038"/>
                  <a:pt x="6338762" y="244818"/>
                  <a:pt x="6334832" y="227790"/>
                </a:cubicBezTo>
                <a:cubicBezTo>
                  <a:pt x="6318347" y="156735"/>
                  <a:pt x="6270099" y="124535"/>
                  <a:pt x="6183435" y="124535"/>
                </a:cubicBezTo>
                <a:cubicBezTo>
                  <a:pt x="6107692" y="124535"/>
                  <a:pt x="6039894" y="154445"/>
                  <a:pt x="6039894" y="219166"/>
                </a:cubicBezTo>
                <a:cubicBezTo>
                  <a:pt x="6039894" y="297969"/>
                  <a:pt x="6125042" y="324819"/>
                  <a:pt x="6191296" y="339008"/>
                </a:cubicBezTo>
                <a:cubicBezTo>
                  <a:pt x="6336353" y="369025"/>
                  <a:pt x="6514594" y="424144"/>
                  <a:pt x="6514594" y="596046"/>
                </a:cubicBezTo>
                <a:cubicBezTo>
                  <a:pt x="6514594" y="741103"/>
                  <a:pt x="6382085" y="823180"/>
                  <a:pt x="6197635" y="823180"/>
                </a:cubicBezTo>
                <a:cubicBezTo>
                  <a:pt x="6013162" y="823180"/>
                  <a:pt x="5875858" y="723861"/>
                  <a:pt x="5856965" y="555115"/>
                </a:cubicBezTo>
                <a:lnTo>
                  <a:pt x="5857072" y="555115"/>
                </a:lnTo>
                <a:lnTo>
                  <a:pt x="5984672" y="555115"/>
                </a:lnTo>
                <a:cubicBezTo>
                  <a:pt x="6000501" y="555115"/>
                  <a:pt x="6014791" y="565158"/>
                  <a:pt x="6019722" y="580116"/>
                </a:cubicBezTo>
                <a:cubicBezTo>
                  <a:pt x="6045475" y="659461"/>
                  <a:pt x="6112923" y="698538"/>
                  <a:pt x="6194570" y="698538"/>
                </a:cubicBezTo>
                <a:cubicBezTo>
                  <a:pt x="6286040" y="698538"/>
                  <a:pt x="6355461" y="674849"/>
                  <a:pt x="6355461" y="596046"/>
                </a:cubicBezTo>
                <a:cubicBezTo>
                  <a:pt x="6355461" y="517243"/>
                  <a:pt x="6281346" y="501420"/>
                  <a:pt x="6142499" y="471511"/>
                </a:cubicBezTo>
                <a:cubicBezTo>
                  <a:pt x="6017856" y="446301"/>
                  <a:pt x="5883826" y="375353"/>
                  <a:pt x="5883826" y="219166"/>
                </a:cubicBezTo>
                <a:cubicBezTo>
                  <a:pt x="5883826" y="62980"/>
                  <a:pt x="6038373" y="0"/>
                  <a:pt x="6183435" y="0"/>
                </a:cubicBezTo>
                <a:close/>
                <a:moveTo>
                  <a:pt x="5176541" y="0"/>
                </a:moveTo>
                <a:cubicBezTo>
                  <a:pt x="5364181" y="0"/>
                  <a:pt x="5479317" y="113513"/>
                  <a:pt x="5485656" y="257038"/>
                </a:cubicBezTo>
                <a:lnTo>
                  <a:pt x="5364181" y="257038"/>
                </a:lnTo>
                <a:cubicBezTo>
                  <a:pt x="5346724" y="257038"/>
                  <a:pt x="5331868" y="244818"/>
                  <a:pt x="5327937" y="227790"/>
                </a:cubicBezTo>
                <a:cubicBezTo>
                  <a:pt x="5311459" y="156735"/>
                  <a:pt x="5263204" y="124535"/>
                  <a:pt x="5176541" y="124535"/>
                </a:cubicBezTo>
                <a:cubicBezTo>
                  <a:pt x="5100798" y="124535"/>
                  <a:pt x="5033022" y="154445"/>
                  <a:pt x="5033022" y="219166"/>
                </a:cubicBezTo>
                <a:cubicBezTo>
                  <a:pt x="5033022" y="297969"/>
                  <a:pt x="5118147" y="324819"/>
                  <a:pt x="5184401" y="339008"/>
                </a:cubicBezTo>
                <a:cubicBezTo>
                  <a:pt x="5329459" y="369025"/>
                  <a:pt x="5507700" y="424144"/>
                  <a:pt x="5507700" y="596046"/>
                </a:cubicBezTo>
                <a:cubicBezTo>
                  <a:pt x="5507700" y="741103"/>
                  <a:pt x="5375191" y="823180"/>
                  <a:pt x="5190741" y="823180"/>
                </a:cubicBezTo>
                <a:cubicBezTo>
                  <a:pt x="5006268" y="823180"/>
                  <a:pt x="4868964" y="723861"/>
                  <a:pt x="4850093" y="555115"/>
                </a:cubicBezTo>
                <a:lnTo>
                  <a:pt x="4850200" y="555115"/>
                </a:lnTo>
                <a:lnTo>
                  <a:pt x="4977801" y="555115"/>
                </a:lnTo>
                <a:cubicBezTo>
                  <a:pt x="4993612" y="555115"/>
                  <a:pt x="5007919" y="565158"/>
                  <a:pt x="5012828" y="580116"/>
                </a:cubicBezTo>
                <a:cubicBezTo>
                  <a:pt x="5038581" y="659461"/>
                  <a:pt x="5106051" y="698538"/>
                  <a:pt x="5187681" y="698538"/>
                </a:cubicBezTo>
                <a:cubicBezTo>
                  <a:pt x="5279146" y="698538"/>
                  <a:pt x="5348567" y="674849"/>
                  <a:pt x="5348567" y="596046"/>
                </a:cubicBezTo>
                <a:cubicBezTo>
                  <a:pt x="5348567" y="517243"/>
                  <a:pt x="5274452" y="501420"/>
                  <a:pt x="5135627" y="471511"/>
                </a:cubicBezTo>
                <a:cubicBezTo>
                  <a:pt x="5010984" y="446301"/>
                  <a:pt x="4876932" y="375353"/>
                  <a:pt x="4876932" y="219166"/>
                </a:cubicBezTo>
                <a:cubicBezTo>
                  <a:pt x="4876932" y="62980"/>
                  <a:pt x="5031501" y="0"/>
                  <a:pt x="5176541" y="0"/>
                </a:cubicBezTo>
                <a:close/>
              </a:path>
            </a:pathLst>
          </a:custGeom>
          <a:solidFill>
            <a:srgbClr val="EFF1FF"/>
          </a:solidFill>
        </p:spPr>
        <p:txBody>
          <a:bodyPr wrap="square">
            <a:noAutofit/>
          </a:bodyPr>
          <a:lstStyle>
            <a:lvl1pPr marL="0" indent="0">
              <a:buFontTx/>
              <a:buNone/>
              <a:defRPr sz="800">
                <a:noFill/>
              </a:defRPr>
            </a:lvl1pPr>
          </a:lstStyle>
          <a:p>
            <a:pPr lvl="0"/>
            <a:r>
              <a:rPr lang="en-US" dirty="0"/>
              <a:t>10571432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B86414ED-9AB6-9951-C23F-6AF344EF820C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263140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263140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263140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79056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content - Flu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3A2C641-F971-3A91-AA99-6E79C30954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2AD8A9E-9638-C71F-CB8F-4E16DB0C6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9" y="460800"/>
            <a:ext cx="5263893" cy="803297"/>
          </a:xfrm>
        </p:spPr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F51E3-AC28-6182-0248-C07BD511F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4000" y="6341361"/>
            <a:ext cx="4687892" cy="1384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0D5198A-3800-D0B3-184A-F7D437A2F4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7999" y="1808163"/>
            <a:ext cx="5263893" cy="4186238"/>
          </a:xfrm>
        </p:spPr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  <a:lvl2pPr>
              <a:defRPr>
                <a:solidFill>
                  <a:srgbClr val="263140"/>
                </a:solidFill>
              </a:defRPr>
            </a:lvl2pPr>
            <a:lvl3pPr>
              <a:defRPr>
                <a:solidFill>
                  <a:srgbClr val="263140"/>
                </a:solidFill>
              </a:defRPr>
            </a:lvl3pPr>
            <a:lvl4pPr>
              <a:defRPr>
                <a:solidFill>
                  <a:srgbClr val="263140"/>
                </a:solidFill>
              </a:defRPr>
            </a:lvl4pPr>
            <a:lvl5pPr>
              <a:defRPr>
                <a:solidFill>
                  <a:srgbClr val="263140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029746A-B031-E46A-B9B0-A7EC6D29FFE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503928" y="852523"/>
            <a:ext cx="5230871" cy="5141876"/>
          </a:xfrm>
        </p:spPr>
        <p:txBody>
          <a:bodyPr anchor="ctr" anchorCtr="0"/>
          <a:lstStyle>
            <a:lvl1pPr marL="0" indent="0" algn="ctr">
              <a:buFont typeface="Rale Body" pitchFamily="2" charset="0"/>
              <a:buChar char="​"/>
              <a:defRPr>
                <a:solidFill>
                  <a:srgbClr val="EFF1FF"/>
                </a:solidFill>
              </a:defRPr>
            </a:lvl1pPr>
            <a:lvl2pPr marL="216000" algn="ctr">
              <a:defRPr>
                <a:solidFill>
                  <a:srgbClr val="EFF1FF"/>
                </a:solidFill>
              </a:defRPr>
            </a:lvl2pPr>
            <a:lvl3pPr marL="432000" algn="ctr">
              <a:defRPr>
                <a:solidFill>
                  <a:srgbClr val="EFF1FF"/>
                </a:solidFill>
              </a:defRPr>
            </a:lvl3pPr>
            <a:lvl4pPr marL="648000" algn="ctr">
              <a:defRPr>
                <a:solidFill>
                  <a:srgbClr val="EFF1FF"/>
                </a:solidFill>
              </a:defRPr>
            </a:lvl4pPr>
            <a:lvl5pPr marL="864000" algn="ctr">
              <a:defRPr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5A48960A-B290-6368-7823-F2797F8DD10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3" name="Copyright">
            <a:extLst>
              <a:ext uri="{FF2B5EF4-FFF2-40B4-BE49-F238E27FC236}">
                <a16:creationId xmlns:a16="http://schemas.microsoft.com/office/drawing/2014/main" id="{756A5A39-FC95-1E31-950F-0B326892F5D7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263140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263140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263140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62921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content - Chart - Lila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CC4E91D-05D4-2D8F-E4F5-10B2EA6A735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FF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90000"/>
              </a:lnSpc>
            </a:pPr>
            <a:endParaRPr lang="en-GB" sz="1600" noProof="0" dirty="0" err="1">
              <a:solidFill>
                <a:schemeClr val="accent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AD8A9E-9638-C71F-CB8F-4E16DB0C6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9" y="460800"/>
            <a:ext cx="5263893" cy="803297"/>
          </a:xfrm>
        </p:spPr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F51E3-AC28-6182-0248-C07BD511F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4000" y="6341361"/>
            <a:ext cx="4687892" cy="1384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0D5198A-3800-D0B3-184A-F7D437A2F4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313" y="1808163"/>
            <a:ext cx="5263893" cy="4186800"/>
          </a:xfrm>
        </p:spPr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  <a:lvl2pPr>
              <a:defRPr>
                <a:solidFill>
                  <a:srgbClr val="263140"/>
                </a:solidFill>
              </a:defRPr>
            </a:lvl2pPr>
            <a:lvl3pPr>
              <a:defRPr>
                <a:solidFill>
                  <a:srgbClr val="263140"/>
                </a:solidFill>
              </a:defRPr>
            </a:lvl3pPr>
            <a:lvl4pPr>
              <a:defRPr>
                <a:solidFill>
                  <a:srgbClr val="263140"/>
                </a:solidFill>
              </a:defRPr>
            </a:lvl4pPr>
            <a:lvl5pPr>
              <a:defRPr>
                <a:solidFill>
                  <a:srgbClr val="263140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9FB322-8368-6771-FACF-8DEBAAECEA9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35555" y="1808163"/>
            <a:ext cx="5188134" cy="4186237"/>
          </a:xfrm>
        </p:spPr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  <a:lvl2pPr>
              <a:defRPr>
                <a:solidFill>
                  <a:srgbClr val="263140"/>
                </a:solidFill>
              </a:defRPr>
            </a:lvl2pPr>
            <a:lvl3pPr>
              <a:defRPr>
                <a:solidFill>
                  <a:srgbClr val="263140"/>
                </a:solidFill>
              </a:defRPr>
            </a:lvl3pPr>
            <a:lvl4pPr>
              <a:defRPr>
                <a:solidFill>
                  <a:srgbClr val="263140"/>
                </a:solidFill>
              </a:defRPr>
            </a:lvl4pPr>
            <a:lvl5pPr>
              <a:defRPr>
                <a:solidFill>
                  <a:srgbClr val="263140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DDF0B67-FE40-44DF-13D6-88F646BAFF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35555" y="460800"/>
            <a:ext cx="5188134" cy="803297"/>
          </a:xfrm>
        </p:spPr>
        <p:txBody>
          <a:bodyPr/>
          <a:lstStyle>
            <a:lvl1pPr marL="0" indent="0">
              <a:buFont typeface="Rale Body" pitchFamily="2" charset="0"/>
              <a:buChar char="​"/>
              <a:defRPr>
                <a:solidFill>
                  <a:srgbClr val="263140"/>
                </a:solidFill>
              </a:defRPr>
            </a:lvl1pPr>
            <a:lvl2pPr marL="216000">
              <a:defRPr>
                <a:solidFill>
                  <a:srgbClr val="263140"/>
                </a:solidFill>
              </a:defRPr>
            </a:lvl2pPr>
            <a:lvl3pPr marL="432000">
              <a:defRPr>
                <a:solidFill>
                  <a:srgbClr val="263140"/>
                </a:solidFill>
              </a:defRPr>
            </a:lvl3pPr>
            <a:lvl4pPr marL="648000">
              <a:defRPr>
                <a:solidFill>
                  <a:srgbClr val="263140"/>
                </a:solidFill>
              </a:defRPr>
            </a:lvl4pPr>
            <a:lvl5pPr marL="864000">
              <a:defRPr>
                <a:solidFill>
                  <a:srgbClr val="263140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C196CB28-CF15-3159-6D01-576CC581F070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263140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263140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263140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90229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+ Chart - Junip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CC4E91D-05D4-2D8F-E4F5-10B2EA6A735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2631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90000"/>
              </a:lnSpc>
            </a:pPr>
            <a:endParaRPr lang="en-GB" sz="1600" noProof="0" dirty="0" err="1">
              <a:solidFill>
                <a:schemeClr val="accent2"/>
              </a:solidFill>
            </a:endParaRP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2620C8E-D219-3479-5D66-406E54EE9AE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210300" cy="6858000"/>
          </a:xfrm>
          <a:solidFill>
            <a:schemeClr val="accent5"/>
          </a:solidFill>
        </p:spPr>
        <p:txBody>
          <a:bodyPr bIns="612000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F51E3-AC28-6182-0248-C07BD511FF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6771373" y="6341361"/>
            <a:ext cx="3585591" cy="138499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9FB322-8368-6771-FACF-8DEBAAECEA92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6771373" y="1333099"/>
            <a:ext cx="4952316" cy="4661301"/>
          </a:xfrm>
        </p:spPr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  <a:lvl2pPr>
              <a:defRPr>
                <a:solidFill>
                  <a:srgbClr val="EFF1FF"/>
                </a:solidFill>
              </a:defRPr>
            </a:lvl2pPr>
            <a:lvl3pPr>
              <a:defRPr>
                <a:solidFill>
                  <a:srgbClr val="EFF1FF"/>
                </a:solidFill>
              </a:defRPr>
            </a:lvl3pPr>
            <a:lvl4pPr>
              <a:defRPr>
                <a:solidFill>
                  <a:srgbClr val="EFF1FF"/>
                </a:solidFill>
              </a:defRPr>
            </a:lvl4pPr>
            <a:lvl5pPr>
              <a:defRPr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DDF0B67-FE40-44DF-13D6-88F646BAFFE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771373" y="460800"/>
            <a:ext cx="4952316" cy="611188"/>
          </a:xfrm>
        </p:spPr>
        <p:txBody>
          <a:bodyPr/>
          <a:lstStyle>
            <a:lvl1pPr marL="0" indent="0">
              <a:buFont typeface="Rale Body" pitchFamily="2" charset="0"/>
              <a:buChar char="​"/>
              <a:defRPr>
                <a:solidFill>
                  <a:srgbClr val="EFF1FF"/>
                </a:solidFill>
              </a:defRPr>
            </a:lvl1pPr>
            <a:lvl2pPr marL="216000">
              <a:defRPr>
                <a:solidFill>
                  <a:srgbClr val="EFF1FF"/>
                </a:solidFill>
              </a:defRPr>
            </a:lvl2pPr>
            <a:lvl3pPr marL="432000">
              <a:defRPr>
                <a:solidFill>
                  <a:srgbClr val="EFF1FF"/>
                </a:solidFill>
              </a:defRPr>
            </a:lvl3pPr>
            <a:lvl4pPr marL="648000">
              <a:defRPr>
                <a:solidFill>
                  <a:srgbClr val="EFF1FF"/>
                </a:solidFill>
              </a:defRPr>
            </a:lvl4pPr>
            <a:lvl5pPr marL="864000">
              <a:defRPr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FDB92515-3B28-E9AB-2672-64B27B275B04}"/>
              </a:ext>
            </a:extLst>
          </p:cNvPr>
          <p:cNvSpPr txBox="1"/>
          <p:nvPr userDrawn="1"/>
        </p:nvSpPr>
        <p:spPr>
          <a:xfrm>
            <a:off x="98545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251914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+ Large text - Juni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CC4E91D-05D4-2D8F-E4F5-10B2EA6A735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2631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90000"/>
              </a:lnSpc>
            </a:pPr>
            <a:endParaRPr lang="en-GB" sz="1600" noProof="0" dirty="0" err="1">
              <a:solidFill>
                <a:schemeClr val="accent2"/>
              </a:solidFill>
            </a:endParaRP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2620C8E-D219-3479-5D66-406E54EE9AE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210300" cy="6858000"/>
          </a:xfrm>
          <a:solidFill>
            <a:schemeClr val="accent5"/>
          </a:solidFill>
        </p:spPr>
        <p:txBody>
          <a:bodyPr bIns="612000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GB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9FB322-8368-6771-FACF-8DEBAAECEA92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6771408" y="457200"/>
            <a:ext cx="4963391" cy="5537200"/>
          </a:xfrm>
        </p:spPr>
        <p:txBody>
          <a:bodyPr/>
          <a:lstStyle>
            <a:lvl1pPr marL="0" indent="0">
              <a:lnSpc>
                <a:spcPct val="90000"/>
              </a:lnSpc>
              <a:buFont typeface="Rale Body" pitchFamily="2" charset="0"/>
              <a:buChar char="​"/>
              <a:defRPr sz="4800">
                <a:solidFill>
                  <a:srgbClr val="A1B0FF"/>
                </a:solidFill>
                <a:latin typeface="+mj-lt"/>
              </a:defRPr>
            </a:lvl1pPr>
            <a:lvl2pPr marL="360000" indent="-360000">
              <a:lnSpc>
                <a:spcPct val="90000"/>
              </a:lnSpc>
              <a:defRPr sz="4800">
                <a:solidFill>
                  <a:srgbClr val="A1B0FF"/>
                </a:solidFill>
                <a:latin typeface="+mj-lt"/>
              </a:defRPr>
            </a:lvl2pPr>
            <a:lvl3pPr marL="720000" indent="-360000">
              <a:lnSpc>
                <a:spcPct val="90000"/>
              </a:lnSpc>
              <a:defRPr sz="4800">
                <a:solidFill>
                  <a:srgbClr val="A1B0FF"/>
                </a:solidFill>
                <a:latin typeface="+mj-lt"/>
              </a:defRPr>
            </a:lvl3pPr>
            <a:lvl4pPr marL="1080000" indent="-360000">
              <a:lnSpc>
                <a:spcPct val="90000"/>
              </a:lnSpc>
              <a:defRPr sz="4800">
                <a:solidFill>
                  <a:srgbClr val="A1B0FF"/>
                </a:solidFill>
                <a:latin typeface="+mj-lt"/>
              </a:defRPr>
            </a:lvl4pPr>
            <a:lvl5pPr marL="1440000" indent="-360000">
              <a:lnSpc>
                <a:spcPct val="90000"/>
              </a:lnSpc>
              <a:defRPr sz="4800">
                <a:solidFill>
                  <a:srgbClr val="A1B0FF"/>
                </a:solidFill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DDF0B67-FE40-44DF-13D6-88F646BAFFE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771409" y="6141029"/>
            <a:ext cx="3274292" cy="364366"/>
          </a:xfrm>
        </p:spPr>
        <p:txBody>
          <a:bodyPr anchor="b" anchorCtr="0"/>
          <a:lstStyle>
            <a:lvl1pPr marL="0" indent="0">
              <a:buFont typeface="Rale Body" pitchFamily="2" charset="0"/>
              <a:buChar char="​"/>
              <a:defRPr sz="1200">
                <a:solidFill>
                  <a:srgbClr val="A1B0FF"/>
                </a:solidFill>
              </a:defRPr>
            </a:lvl1pPr>
            <a:lvl2pPr marL="216000">
              <a:defRPr sz="1200">
                <a:solidFill>
                  <a:srgbClr val="A1B0FF"/>
                </a:solidFill>
              </a:defRPr>
            </a:lvl2pPr>
            <a:lvl3pPr marL="432000">
              <a:defRPr sz="1200">
                <a:solidFill>
                  <a:srgbClr val="A1B0FF"/>
                </a:solidFill>
              </a:defRPr>
            </a:lvl3pPr>
            <a:lvl4pPr marL="648000">
              <a:defRPr sz="1200">
                <a:solidFill>
                  <a:srgbClr val="A1B0FF"/>
                </a:solidFill>
              </a:defRPr>
            </a:lvl4pPr>
            <a:lvl5pPr marL="864000">
              <a:defRPr sz="1200">
                <a:solidFill>
                  <a:srgbClr val="A1B0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A818ECFF-F868-4DE6-4801-3D705A711A5E}"/>
              </a:ext>
            </a:extLst>
          </p:cNvPr>
          <p:cNvSpPr txBox="1"/>
          <p:nvPr userDrawn="1"/>
        </p:nvSpPr>
        <p:spPr>
          <a:xfrm>
            <a:off x="98545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A1B0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A1B0FF"/>
                </a:solidFill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A1B0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799711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text - Flu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BCF0A2A-270B-7060-D66D-0A91BAC6C8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9FB322-8368-6771-FACF-8DEBAAECEA92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442799" y="457200"/>
            <a:ext cx="11282400" cy="4087091"/>
          </a:xfrm>
        </p:spPr>
        <p:txBody>
          <a:bodyPr/>
          <a:lstStyle>
            <a:lvl1pPr marL="0" indent="0">
              <a:lnSpc>
                <a:spcPct val="90000"/>
              </a:lnSpc>
              <a:buFont typeface="Rale Body" pitchFamily="2" charset="0"/>
              <a:buChar char="​"/>
              <a:defRPr sz="4800">
                <a:solidFill>
                  <a:srgbClr val="EFF1FF"/>
                </a:solidFill>
                <a:latin typeface="+mj-lt"/>
              </a:defRPr>
            </a:lvl1pPr>
            <a:lvl2pPr marL="360000" indent="-360000">
              <a:lnSpc>
                <a:spcPct val="90000"/>
              </a:lnSpc>
              <a:defRPr sz="4800">
                <a:solidFill>
                  <a:srgbClr val="EFF1FF"/>
                </a:solidFill>
                <a:latin typeface="+mj-lt"/>
              </a:defRPr>
            </a:lvl2pPr>
            <a:lvl3pPr marL="720000" indent="-360000">
              <a:lnSpc>
                <a:spcPct val="90000"/>
              </a:lnSpc>
              <a:defRPr sz="4800">
                <a:solidFill>
                  <a:srgbClr val="EFF1FF"/>
                </a:solidFill>
                <a:latin typeface="+mj-lt"/>
              </a:defRPr>
            </a:lvl3pPr>
            <a:lvl4pPr marL="1080000" indent="-360000">
              <a:lnSpc>
                <a:spcPct val="90000"/>
              </a:lnSpc>
              <a:defRPr sz="4800">
                <a:solidFill>
                  <a:srgbClr val="EFF1FF"/>
                </a:solidFill>
                <a:latin typeface="+mj-lt"/>
              </a:defRPr>
            </a:lvl4pPr>
            <a:lvl5pPr marL="1440000" indent="-360000">
              <a:lnSpc>
                <a:spcPct val="90000"/>
              </a:lnSpc>
              <a:defRPr sz="4800">
                <a:solidFill>
                  <a:srgbClr val="EFF1FF"/>
                </a:solidFill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DDF0B67-FE40-44DF-13D6-88F646BAFFE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466724" y="5288400"/>
            <a:ext cx="11268075" cy="364366"/>
          </a:xfrm>
        </p:spPr>
        <p:txBody>
          <a:bodyPr anchor="b" anchorCtr="0"/>
          <a:lstStyle>
            <a:lvl1pPr marL="0" indent="0">
              <a:buFont typeface="Rale Body" pitchFamily="2" charset="0"/>
              <a:buChar char="​"/>
              <a:defRPr sz="1200">
                <a:solidFill>
                  <a:srgbClr val="EFF1FF"/>
                </a:solidFill>
              </a:defRPr>
            </a:lvl1pPr>
            <a:lvl2pPr marL="216000">
              <a:defRPr sz="1200">
                <a:solidFill>
                  <a:srgbClr val="EFF1FF"/>
                </a:solidFill>
              </a:defRPr>
            </a:lvl2pPr>
            <a:lvl3pPr marL="432000">
              <a:defRPr sz="1200">
                <a:solidFill>
                  <a:srgbClr val="EFF1FF"/>
                </a:solidFill>
              </a:defRPr>
            </a:lvl3pPr>
            <a:lvl4pPr marL="648000">
              <a:defRPr sz="1200">
                <a:solidFill>
                  <a:srgbClr val="EFF1FF"/>
                </a:solidFill>
              </a:defRPr>
            </a:lvl4pPr>
            <a:lvl5pPr marL="864000">
              <a:defRPr sz="1200"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500798F-6A57-25C6-28C5-EB1362B3391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CB0191-94FF-E586-7C10-119C73F052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AA63B554-9CC3-1192-54B1-8D69BCC5F51A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789022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text - Juniper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9FB322-8368-6771-FACF-8DEBAAECEA92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442799" y="457200"/>
            <a:ext cx="11282400" cy="4087091"/>
          </a:xfrm>
        </p:spPr>
        <p:txBody>
          <a:bodyPr/>
          <a:lstStyle>
            <a:lvl1pPr marL="0" indent="0">
              <a:lnSpc>
                <a:spcPct val="90000"/>
              </a:lnSpc>
              <a:buFont typeface="Rale Body" pitchFamily="2" charset="0"/>
              <a:buChar char="​"/>
              <a:defRPr sz="4800">
                <a:solidFill>
                  <a:srgbClr val="A1B0FF"/>
                </a:solidFill>
                <a:latin typeface="+mj-lt"/>
              </a:defRPr>
            </a:lvl1pPr>
            <a:lvl2pPr marL="360000" indent="-360000">
              <a:lnSpc>
                <a:spcPct val="90000"/>
              </a:lnSpc>
              <a:defRPr sz="4800">
                <a:solidFill>
                  <a:srgbClr val="A1B0FF"/>
                </a:solidFill>
                <a:latin typeface="+mj-lt"/>
              </a:defRPr>
            </a:lvl2pPr>
            <a:lvl3pPr marL="720000" indent="-360000">
              <a:lnSpc>
                <a:spcPct val="90000"/>
              </a:lnSpc>
              <a:defRPr sz="4800">
                <a:solidFill>
                  <a:srgbClr val="A1B0FF"/>
                </a:solidFill>
                <a:latin typeface="+mj-lt"/>
              </a:defRPr>
            </a:lvl3pPr>
            <a:lvl4pPr marL="1080000" indent="-360000">
              <a:lnSpc>
                <a:spcPct val="90000"/>
              </a:lnSpc>
              <a:defRPr sz="4800">
                <a:solidFill>
                  <a:srgbClr val="A1B0FF"/>
                </a:solidFill>
                <a:latin typeface="+mj-lt"/>
              </a:defRPr>
            </a:lvl4pPr>
            <a:lvl5pPr marL="1440000" indent="-360000">
              <a:lnSpc>
                <a:spcPct val="90000"/>
              </a:lnSpc>
              <a:defRPr sz="4800">
                <a:solidFill>
                  <a:srgbClr val="A1B0FF"/>
                </a:solidFill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DDF0B67-FE40-44DF-13D6-88F646BAFFE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466724" y="5288400"/>
            <a:ext cx="11268075" cy="364366"/>
          </a:xfrm>
        </p:spPr>
        <p:txBody>
          <a:bodyPr anchor="b" anchorCtr="0"/>
          <a:lstStyle>
            <a:lvl1pPr marL="0" indent="0">
              <a:buFont typeface="Rale Body" pitchFamily="2" charset="0"/>
              <a:buChar char="​"/>
              <a:defRPr sz="1200">
                <a:solidFill>
                  <a:srgbClr val="A1B0FF"/>
                </a:solidFill>
              </a:defRPr>
            </a:lvl1pPr>
            <a:lvl2pPr marL="216000">
              <a:defRPr sz="1200">
                <a:solidFill>
                  <a:srgbClr val="A1B0FF"/>
                </a:solidFill>
              </a:defRPr>
            </a:lvl2pPr>
            <a:lvl3pPr marL="432000">
              <a:defRPr sz="1200">
                <a:solidFill>
                  <a:srgbClr val="A1B0FF"/>
                </a:solidFill>
              </a:defRPr>
            </a:lvl3pPr>
            <a:lvl4pPr marL="648000">
              <a:defRPr sz="1200">
                <a:solidFill>
                  <a:srgbClr val="A1B0FF"/>
                </a:solidFill>
              </a:defRPr>
            </a:lvl4pPr>
            <a:lvl5pPr marL="864000">
              <a:defRPr sz="1200">
                <a:solidFill>
                  <a:srgbClr val="A1B0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1B0FF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500798F-6A57-25C6-28C5-EB1362B3391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A1B0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CB0191-94FF-E586-7C10-119C73F052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0DF1F30E-4103-1C49-216B-16E94BD96874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A1B0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A1B0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A1B0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516349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+ 2 x grid - Junip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CC4E91D-05D4-2D8F-E4F5-10B2EA6A7359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2631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90000"/>
              </a:lnSpc>
            </a:pPr>
            <a:endParaRPr lang="en-GB" sz="1600" noProof="0" dirty="0" err="1">
              <a:solidFill>
                <a:srgbClr val="263140"/>
              </a:solidFill>
            </a:endParaRP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2620C8E-D219-3479-5D66-406E54EE9AE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6000" cy="6858000"/>
          </a:xfrm>
          <a:solidFill>
            <a:schemeClr val="accent5"/>
          </a:solidFill>
        </p:spPr>
        <p:txBody>
          <a:bodyPr bIns="612000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GB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9FB322-8368-6771-FACF-8DEBAAECEA92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6459682" y="457200"/>
            <a:ext cx="5275117" cy="2047010"/>
          </a:xfrm>
        </p:spPr>
        <p:txBody>
          <a:bodyPr/>
          <a:lstStyle>
            <a:lvl1pPr marL="0" indent="0">
              <a:lnSpc>
                <a:spcPct val="90000"/>
              </a:lnSpc>
              <a:buFont typeface="Rale Body" pitchFamily="2" charset="0"/>
              <a:buChar char="​"/>
              <a:defRPr sz="2900">
                <a:solidFill>
                  <a:srgbClr val="263140"/>
                </a:solidFill>
                <a:latin typeface="+mj-lt"/>
              </a:defRPr>
            </a:lvl1pPr>
            <a:lvl2pPr marL="360000" indent="-360000">
              <a:lnSpc>
                <a:spcPct val="90000"/>
              </a:lnSpc>
              <a:defRPr sz="2900">
                <a:solidFill>
                  <a:srgbClr val="263140"/>
                </a:solidFill>
                <a:latin typeface="+mj-lt"/>
              </a:defRPr>
            </a:lvl2pPr>
            <a:lvl3pPr marL="720000" indent="-360000">
              <a:lnSpc>
                <a:spcPct val="90000"/>
              </a:lnSpc>
              <a:defRPr sz="2900">
                <a:solidFill>
                  <a:srgbClr val="263140"/>
                </a:solidFill>
                <a:latin typeface="+mj-lt"/>
              </a:defRPr>
            </a:lvl3pPr>
            <a:lvl4pPr marL="1080000" indent="-360000">
              <a:lnSpc>
                <a:spcPct val="90000"/>
              </a:lnSpc>
              <a:defRPr sz="2900">
                <a:solidFill>
                  <a:srgbClr val="263140"/>
                </a:solidFill>
                <a:latin typeface="+mj-lt"/>
              </a:defRPr>
            </a:lvl4pPr>
            <a:lvl5pPr marL="1440000" indent="-360000">
              <a:lnSpc>
                <a:spcPct val="90000"/>
              </a:lnSpc>
              <a:defRPr sz="2900">
                <a:solidFill>
                  <a:srgbClr val="263140"/>
                </a:solidFill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DDF0B67-FE40-44DF-13D6-88F646BAFFE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459682" y="2840184"/>
            <a:ext cx="5275117" cy="364366"/>
          </a:xfrm>
        </p:spPr>
        <p:txBody>
          <a:bodyPr anchor="b" anchorCtr="0"/>
          <a:lstStyle>
            <a:lvl1pPr marL="0" indent="0">
              <a:buFont typeface="Rale Body" pitchFamily="2" charset="0"/>
              <a:buChar char="​"/>
              <a:defRPr sz="1200">
                <a:solidFill>
                  <a:srgbClr val="263140"/>
                </a:solidFill>
              </a:defRPr>
            </a:lvl1pPr>
            <a:lvl2pPr marL="216000">
              <a:defRPr sz="1200">
                <a:solidFill>
                  <a:srgbClr val="263140"/>
                </a:solidFill>
              </a:defRPr>
            </a:lvl2pPr>
            <a:lvl3pPr marL="432000">
              <a:defRPr sz="1200">
                <a:solidFill>
                  <a:srgbClr val="263140"/>
                </a:solidFill>
              </a:defRPr>
            </a:lvl3pPr>
            <a:lvl4pPr marL="648000">
              <a:defRPr sz="1200">
                <a:solidFill>
                  <a:srgbClr val="263140"/>
                </a:solidFill>
              </a:defRPr>
            </a:lvl4pPr>
            <a:lvl5pPr marL="864000">
              <a:defRPr sz="1200">
                <a:solidFill>
                  <a:srgbClr val="263140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Content Placeholder 11">
            <a:extLst>
              <a:ext uri="{FF2B5EF4-FFF2-40B4-BE49-F238E27FC236}">
                <a16:creationId xmlns:a16="http://schemas.microsoft.com/office/drawing/2014/main" id="{16DFE2D9-4804-5316-15C7-62B416B080AA}"/>
              </a:ext>
            </a:extLst>
          </p:cNvPr>
          <p:cNvSpPr>
            <a:spLocks noGrp="1"/>
          </p:cNvSpPr>
          <p:nvPr>
            <p:ph sz="quarter" idx="103"/>
          </p:nvPr>
        </p:nvSpPr>
        <p:spPr>
          <a:xfrm>
            <a:off x="6459683" y="3740727"/>
            <a:ext cx="5275116" cy="2747348"/>
          </a:xfrm>
        </p:spPr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  <a:lvl2pPr>
              <a:defRPr>
                <a:solidFill>
                  <a:srgbClr val="EFF1FF"/>
                </a:solidFill>
              </a:defRPr>
            </a:lvl2pPr>
            <a:lvl3pPr>
              <a:defRPr>
                <a:solidFill>
                  <a:srgbClr val="EFF1FF"/>
                </a:solidFill>
              </a:defRPr>
            </a:lvl3pPr>
            <a:lvl4pPr>
              <a:defRPr>
                <a:solidFill>
                  <a:srgbClr val="EFF1FF"/>
                </a:solidFill>
              </a:defRPr>
            </a:lvl4pPr>
            <a:lvl5pPr>
              <a:defRPr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19032682-23A0-7982-0A65-793DB6CB6F20}"/>
              </a:ext>
            </a:extLst>
          </p:cNvPr>
          <p:cNvSpPr txBox="1"/>
          <p:nvPr userDrawn="1"/>
        </p:nvSpPr>
        <p:spPr>
          <a:xfrm>
            <a:off x="98545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27385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63;p13">
            <a:extLst>
              <a:ext uri="{FF2B5EF4-FFF2-40B4-BE49-F238E27FC236}">
                <a16:creationId xmlns:a16="http://schemas.microsoft.com/office/drawing/2014/main" id="{852A5B6C-B5D1-92F5-513E-DA8E8ACCB1C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25211"/>
          <a:stretch/>
        </p:blipFill>
        <p:spPr>
          <a:xfrm>
            <a:off x="0" y="-3"/>
            <a:ext cx="9144003" cy="73797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BEBA17-45D5-9128-E1A4-6AA98EEAA2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3850" y="940501"/>
            <a:ext cx="11548099" cy="659700"/>
          </a:xfrm>
        </p:spPr>
        <p:txBody>
          <a:bodyPr anchor="t"/>
          <a:lstStyle>
            <a:lvl1pPr>
              <a:defRPr sz="4000" b="1" i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INSERT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CD33646-EFF4-C712-3ACE-91492D7E01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4975" y="1990725"/>
            <a:ext cx="11548099" cy="4186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INSERT</a:t>
            </a:r>
            <a:endParaRPr lang="en-US"/>
          </a:p>
        </p:txBody>
      </p:sp>
      <p:pic>
        <p:nvPicPr>
          <p:cNvPr id="5" name="Picture 4" descr="A close-up of words&#10;&#10;AI-generated content may be incorrect.">
            <a:extLst>
              <a:ext uri="{FF2B5EF4-FFF2-40B4-BE49-F238E27FC236}">
                <a16:creationId xmlns:a16="http://schemas.microsoft.com/office/drawing/2014/main" id="{95D342EB-5B47-CE9C-E94E-FDE684C53D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r="2788"/>
          <a:stretch>
            <a:fillRect/>
          </a:stretch>
        </p:blipFill>
        <p:spPr>
          <a:xfrm>
            <a:off x="8943975" y="83591"/>
            <a:ext cx="2952000" cy="73176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289DDA7-500D-0197-2112-71F3518915F8}"/>
              </a:ext>
            </a:extLst>
          </p:cNvPr>
          <p:cNvSpPr txBox="1"/>
          <p:nvPr userDrawn="1"/>
        </p:nvSpPr>
        <p:spPr>
          <a:xfrm>
            <a:off x="257175" y="6382821"/>
            <a:ext cx="1876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#ActionOverNoi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385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x grid - Juni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706FC9D-8742-2963-C0BF-6DB0B72CAC40}"/>
              </a:ext>
            </a:extLst>
          </p:cNvPr>
          <p:cNvSpPr/>
          <p:nvPr userDrawn="1"/>
        </p:nvSpPr>
        <p:spPr>
          <a:xfrm>
            <a:off x="6096000" y="-3"/>
            <a:ext cx="6096000" cy="3429000"/>
          </a:xfrm>
          <a:prstGeom prst="rect">
            <a:avLst/>
          </a:prstGeom>
          <a:solidFill>
            <a:srgbClr val="2631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90000"/>
              </a:lnSpc>
            </a:pPr>
            <a:endParaRPr lang="en-GB" sz="1600" noProof="0" dirty="0" err="1">
              <a:solidFill>
                <a:srgbClr val="26314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CC4E91D-05D4-2D8F-E4F5-10B2EA6A7359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EFF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90000"/>
              </a:lnSpc>
            </a:pPr>
            <a:endParaRPr lang="en-GB" sz="1600" noProof="0" dirty="0" err="1">
              <a:solidFill>
                <a:srgbClr val="EFF1FF"/>
              </a:solidFill>
            </a:endParaRP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2620C8E-D219-3479-5D66-406E54EE9AE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428998"/>
            <a:ext cx="6096000" cy="3429001"/>
          </a:xfrm>
          <a:solidFill>
            <a:schemeClr val="accent5"/>
          </a:solidFill>
        </p:spPr>
        <p:txBody>
          <a:bodyPr bIns="612000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GB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9FB322-8368-6771-FACF-8DEBAAECEA92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6459682" y="3811088"/>
            <a:ext cx="5275117" cy="1640676"/>
          </a:xfrm>
        </p:spPr>
        <p:txBody>
          <a:bodyPr/>
          <a:lstStyle>
            <a:lvl1pPr marL="0" indent="0">
              <a:lnSpc>
                <a:spcPct val="90000"/>
              </a:lnSpc>
              <a:buFont typeface="Rale Body" pitchFamily="2" charset="0"/>
              <a:buChar char="​"/>
              <a:defRPr sz="2900">
                <a:solidFill>
                  <a:srgbClr val="263140"/>
                </a:solidFill>
                <a:latin typeface="+mj-lt"/>
              </a:defRPr>
            </a:lvl1pPr>
            <a:lvl2pPr marL="360000" indent="-360000">
              <a:lnSpc>
                <a:spcPct val="90000"/>
              </a:lnSpc>
              <a:defRPr sz="2900">
                <a:solidFill>
                  <a:srgbClr val="263140"/>
                </a:solidFill>
                <a:latin typeface="+mj-lt"/>
              </a:defRPr>
            </a:lvl2pPr>
            <a:lvl3pPr marL="720000" indent="-360000">
              <a:lnSpc>
                <a:spcPct val="90000"/>
              </a:lnSpc>
              <a:defRPr sz="2900">
                <a:solidFill>
                  <a:srgbClr val="263140"/>
                </a:solidFill>
                <a:latin typeface="+mj-lt"/>
              </a:defRPr>
            </a:lvl3pPr>
            <a:lvl4pPr marL="1080000" indent="-360000">
              <a:lnSpc>
                <a:spcPct val="90000"/>
              </a:lnSpc>
              <a:defRPr sz="2900">
                <a:solidFill>
                  <a:srgbClr val="263140"/>
                </a:solidFill>
                <a:latin typeface="+mj-lt"/>
              </a:defRPr>
            </a:lvl4pPr>
            <a:lvl5pPr marL="1440000" indent="-360000">
              <a:lnSpc>
                <a:spcPct val="90000"/>
              </a:lnSpc>
              <a:defRPr sz="2900">
                <a:solidFill>
                  <a:srgbClr val="263140"/>
                </a:solidFill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DDF0B67-FE40-44DF-13D6-88F646BAFFE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459682" y="5630034"/>
            <a:ext cx="5275117" cy="364366"/>
          </a:xfrm>
        </p:spPr>
        <p:txBody>
          <a:bodyPr anchor="b" anchorCtr="0"/>
          <a:lstStyle>
            <a:lvl1pPr marL="0" indent="0">
              <a:buFont typeface="Rale Body" pitchFamily="2" charset="0"/>
              <a:buChar char="​"/>
              <a:defRPr sz="1200">
                <a:solidFill>
                  <a:srgbClr val="263140"/>
                </a:solidFill>
              </a:defRPr>
            </a:lvl1pPr>
            <a:lvl2pPr marL="216000">
              <a:defRPr sz="1200">
                <a:solidFill>
                  <a:srgbClr val="263140"/>
                </a:solidFill>
              </a:defRPr>
            </a:lvl2pPr>
            <a:lvl3pPr marL="432000">
              <a:defRPr sz="1200">
                <a:solidFill>
                  <a:srgbClr val="263140"/>
                </a:solidFill>
              </a:defRPr>
            </a:lvl3pPr>
            <a:lvl4pPr marL="648000">
              <a:defRPr sz="1200">
                <a:solidFill>
                  <a:srgbClr val="263140"/>
                </a:solidFill>
              </a:defRPr>
            </a:lvl4pPr>
            <a:lvl5pPr marL="864000">
              <a:defRPr sz="1200">
                <a:solidFill>
                  <a:srgbClr val="263140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Content Placeholder 11">
            <a:extLst>
              <a:ext uri="{FF2B5EF4-FFF2-40B4-BE49-F238E27FC236}">
                <a16:creationId xmlns:a16="http://schemas.microsoft.com/office/drawing/2014/main" id="{16DFE2D9-4804-5316-15C7-62B416B080AA}"/>
              </a:ext>
            </a:extLst>
          </p:cNvPr>
          <p:cNvSpPr>
            <a:spLocks noGrp="1"/>
          </p:cNvSpPr>
          <p:nvPr>
            <p:ph sz="quarter" idx="103"/>
          </p:nvPr>
        </p:nvSpPr>
        <p:spPr>
          <a:xfrm>
            <a:off x="466724" y="457200"/>
            <a:ext cx="5265591" cy="2747348"/>
          </a:xfrm>
        </p:spPr>
        <p:txBody>
          <a:bodyPr/>
          <a:lstStyle>
            <a:lvl1pPr>
              <a:defRPr>
                <a:solidFill>
                  <a:srgbClr val="263140"/>
                </a:solidFill>
              </a:defRPr>
            </a:lvl1pPr>
            <a:lvl2pPr>
              <a:defRPr>
                <a:solidFill>
                  <a:srgbClr val="263140"/>
                </a:solidFill>
              </a:defRPr>
            </a:lvl2pPr>
            <a:lvl3pPr>
              <a:defRPr>
                <a:solidFill>
                  <a:srgbClr val="263140"/>
                </a:solidFill>
              </a:defRPr>
            </a:lvl3pPr>
            <a:lvl4pPr>
              <a:defRPr>
                <a:solidFill>
                  <a:srgbClr val="263140"/>
                </a:solidFill>
              </a:defRPr>
            </a:lvl4pPr>
            <a:lvl5pPr>
              <a:defRPr>
                <a:solidFill>
                  <a:srgbClr val="263140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Content Placeholder 11">
            <a:extLst>
              <a:ext uri="{FF2B5EF4-FFF2-40B4-BE49-F238E27FC236}">
                <a16:creationId xmlns:a16="http://schemas.microsoft.com/office/drawing/2014/main" id="{5DC535C7-C510-8F4C-BB6F-A5153D934EF3}"/>
              </a:ext>
            </a:extLst>
          </p:cNvPr>
          <p:cNvSpPr>
            <a:spLocks noGrp="1"/>
          </p:cNvSpPr>
          <p:nvPr>
            <p:ph sz="quarter" idx="104"/>
          </p:nvPr>
        </p:nvSpPr>
        <p:spPr>
          <a:xfrm>
            <a:off x="6459682" y="457200"/>
            <a:ext cx="5275118" cy="2747348"/>
          </a:xfrm>
        </p:spPr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  <a:lvl2pPr>
              <a:defRPr>
                <a:solidFill>
                  <a:srgbClr val="EFF1FF"/>
                </a:solidFill>
              </a:defRPr>
            </a:lvl2pPr>
            <a:lvl3pPr>
              <a:defRPr>
                <a:solidFill>
                  <a:srgbClr val="EFF1FF"/>
                </a:solidFill>
              </a:defRPr>
            </a:lvl3pPr>
            <a:lvl4pPr>
              <a:defRPr>
                <a:solidFill>
                  <a:srgbClr val="EFF1FF"/>
                </a:solidFill>
              </a:defRPr>
            </a:lvl4pPr>
            <a:lvl5pPr>
              <a:defRPr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3584F453-04D1-65EE-A76F-D897C83A67A9}"/>
              </a:ext>
            </a:extLst>
          </p:cNvPr>
          <p:cNvSpPr txBox="1"/>
          <p:nvPr userDrawn="1"/>
        </p:nvSpPr>
        <p:spPr>
          <a:xfrm>
            <a:off x="98545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263140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263140"/>
                </a:solidFill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263140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120284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- Flux - Blue">
    <p:bg>
      <p:bgPr>
        <a:solidFill>
          <a:srgbClr val="3A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BEE3606-A372-1C78-EB8E-1E072E36BB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Name 3">
            <a:extLst>
              <a:ext uri="{FF2B5EF4-FFF2-40B4-BE49-F238E27FC236}">
                <a16:creationId xmlns:a16="http://schemas.microsoft.com/office/drawing/2014/main" id="{DE911BAF-FBA9-CB4E-5236-B718DE51CCF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8000" y="457200"/>
            <a:ext cx="2869200" cy="140400"/>
          </a:xfrm>
        </p:spPr>
        <p:txBody>
          <a:bodyPr/>
          <a:lstStyle>
            <a:lvl1pPr marL="0" indent="0">
              <a:buFont typeface="Rale Body" pitchFamily="2" charset="0"/>
              <a:buChar char="​"/>
              <a:defRPr sz="1100">
                <a:solidFill>
                  <a:srgbClr val="EFF1FF"/>
                </a:solidFill>
              </a:defRPr>
            </a:lvl1pPr>
            <a:lvl2pPr marL="108000" indent="-108000">
              <a:defRPr sz="1100">
                <a:solidFill>
                  <a:srgbClr val="EFF1FF"/>
                </a:solidFill>
              </a:defRPr>
            </a:lvl2pPr>
            <a:lvl3pPr marL="216000" indent="-108000">
              <a:defRPr sz="1100">
                <a:solidFill>
                  <a:srgbClr val="EFF1FF"/>
                </a:solidFill>
              </a:defRPr>
            </a:lvl3pPr>
            <a:lvl4pPr marL="324000" indent="-108000">
              <a:defRPr sz="1100">
                <a:solidFill>
                  <a:srgbClr val="EFF1FF"/>
                </a:solidFill>
              </a:defRPr>
            </a:lvl4pPr>
            <a:lvl5pPr marL="432000" indent="-108000">
              <a:defRPr sz="1100"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type “Chapter” and numb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A381BF0-6236-834C-282A-65E70E8776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6725" y="2889250"/>
            <a:ext cx="5514975" cy="1522797"/>
          </a:xfrm>
        </p:spPr>
        <p:txBody>
          <a:bodyPr anchor="t" anchorCtr="0"/>
          <a:lstStyle>
            <a:lvl1pPr marL="0" indent="0">
              <a:buFont typeface="Rale Body" pitchFamily="2" charset="0"/>
              <a:buChar char="​"/>
              <a:defRPr sz="1800">
                <a:solidFill>
                  <a:srgbClr val="EFF1FF"/>
                </a:solidFill>
              </a:defRPr>
            </a:lvl1pPr>
            <a:lvl2pPr marL="216000">
              <a:defRPr sz="1800">
                <a:solidFill>
                  <a:srgbClr val="EFF1FF"/>
                </a:solidFill>
              </a:defRPr>
            </a:lvl2pPr>
            <a:lvl3pPr marL="432000">
              <a:defRPr sz="1800">
                <a:solidFill>
                  <a:srgbClr val="EFF1FF"/>
                </a:solidFill>
              </a:defRPr>
            </a:lvl3pPr>
            <a:lvl4pPr marL="648000">
              <a:defRPr sz="1800">
                <a:solidFill>
                  <a:srgbClr val="EFF1FF"/>
                </a:solidFill>
              </a:defRPr>
            </a:lvl4pPr>
            <a:lvl5pPr marL="864000">
              <a:defRPr sz="1800"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insert subtitl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8599A31-BDD5-7171-AFEA-24710CE453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800" y="1008000"/>
            <a:ext cx="7432675" cy="590931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EFF1FF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3DC8141-FCDB-713B-FD09-0EDA06602848}"/>
              </a:ext>
            </a:extLst>
          </p:cNvPr>
          <p:cNvSpPr>
            <a:spLocks noGrp="1"/>
          </p:cNvSpPr>
          <p:nvPr>
            <p:ph type="sldNum" sz="quarter" idx="105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028E70A3-09F7-2969-3DB5-3F17900AEEB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white">
          <a:xfrm>
            <a:off x="10742400" y="6350400"/>
            <a:ext cx="982876" cy="124498"/>
          </a:xfrm>
          <a:custGeom>
            <a:avLst/>
            <a:gdLst>
              <a:gd name="connsiteX0" fmla="*/ 3880054 w 6514594"/>
              <a:gd name="connsiteY0" fmla="*/ 421753 h 823180"/>
              <a:gd name="connsiteX1" fmla="*/ 3911313 w 6514594"/>
              <a:gd name="connsiteY1" fmla="*/ 458414 h 823180"/>
              <a:gd name="connsiteX2" fmla="*/ 3911313 w 6514594"/>
              <a:gd name="connsiteY2" fmla="*/ 805825 h 823180"/>
              <a:gd name="connsiteX3" fmla="*/ 3753594 w 6514594"/>
              <a:gd name="connsiteY3" fmla="*/ 805825 h 823180"/>
              <a:gd name="connsiteX4" fmla="*/ 3753594 w 6514594"/>
              <a:gd name="connsiteY4" fmla="*/ 575965 h 823180"/>
              <a:gd name="connsiteX5" fmla="*/ 3753594 w 6514594"/>
              <a:gd name="connsiteY5" fmla="*/ 575858 h 823180"/>
              <a:gd name="connsiteX6" fmla="*/ 3760459 w 6514594"/>
              <a:gd name="connsiteY6" fmla="*/ 554352 h 823180"/>
              <a:gd name="connsiteX7" fmla="*/ 3843956 w 6514594"/>
              <a:gd name="connsiteY7" fmla="*/ 436914 h 823180"/>
              <a:gd name="connsiteX8" fmla="*/ 3863320 w 6514594"/>
              <a:gd name="connsiteY8" fmla="*/ 422761 h 823180"/>
              <a:gd name="connsiteX9" fmla="*/ 3880054 w 6514594"/>
              <a:gd name="connsiteY9" fmla="*/ 421753 h 823180"/>
              <a:gd name="connsiteX10" fmla="*/ 659546 w 6514594"/>
              <a:gd name="connsiteY10" fmla="*/ 421753 h 823180"/>
              <a:gd name="connsiteX11" fmla="*/ 690796 w 6514594"/>
              <a:gd name="connsiteY11" fmla="*/ 458414 h 823180"/>
              <a:gd name="connsiteX12" fmla="*/ 690796 w 6514594"/>
              <a:gd name="connsiteY12" fmla="*/ 805825 h 823180"/>
              <a:gd name="connsiteX13" fmla="*/ 533077 w 6514594"/>
              <a:gd name="connsiteY13" fmla="*/ 805825 h 823180"/>
              <a:gd name="connsiteX14" fmla="*/ 533077 w 6514594"/>
              <a:gd name="connsiteY14" fmla="*/ 575965 h 823180"/>
              <a:gd name="connsiteX15" fmla="*/ 533077 w 6514594"/>
              <a:gd name="connsiteY15" fmla="*/ 575858 h 823180"/>
              <a:gd name="connsiteX16" fmla="*/ 539953 w 6514594"/>
              <a:gd name="connsiteY16" fmla="*/ 554352 h 823180"/>
              <a:gd name="connsiteX17" fmla="*/ 623450 w 6514594"/>
              <a:gd name="connsiteY17" fmla="*/ 436914 h 823180"/>
              <a:gd name="connsiteX18" fmla="*/ 642814 w 6514594"/>
              <a:gd name="connsiteY18" fmla="*/ 422761 h 823180"/>
              <a:gd name="connsiteX19" fmla="*/ 659546 w 6514594"/>
              <a:gd name="connsiteY19" fmla="*/ 421753 h 823180"/>
              <a:gd name="connsiteX20" fmla="*/ 5741899 w 6514594"/>
              <a:gd name="connsiteY20" fmla="*/ 266767 h 823180"/>
              <a:gd name="connsiteX21" fmla="*/ 5773146 w 6514594"/>
              <a:gd name="connsiteY21" fmla="*/ 303432 h 823180"/>
              <a:gd name="connsiteX22" fmla="*/ 5773146 w 6514594"/>
              <a:gd name="connsiteY22" fmla="*/ 805938 h 823180"/>
              <a:gd name="connsiteX23" fmla="*/ 5615427 w 6514594"/>
              <a:gd name="connsiteY23" fmla="*/ 805938 h 823180"/>
              <a:gd name="connsiteX24" fmla="*/ 5615427 w 6514594"/>
              <a:gd name="connsiteY24" fmla="*/ 420876 h 823180"/>
              <a:gd name="connsiteX25" fmla="*/ 5622309 w 6514594"/>
              <a:gd name="connsiteY25" fmla="*/ 399370 h 823180"/>
              <a:gd name="connsiteX26" fmla="*/ 5705806 w 6514594"/>
              <a:gd name="connsiteY26" fmla="*/ 281931 h 823180"/>
              <a:gd name="connsiteX27" fmla="*/ 5725169 w 6514594"/>
              <a:gd name="connsiteY27" fmla="*/ 267776 h 823180"/>
              <a:gd name="connsiteX28" fmla="*/ 5741899 w 6514594"/>
              <a:gd name="connsiteY28" fmla="*/ 266767 h 823180"/>
              <a:gd name="connsiteX29" fmla="*/ 4401173 w 6514594"/>
              <a:gd name="connsiteY29" fmla="*/ 136105 h 823180"/>
              <a:gd name="connsiteX30" fmla="*/ 4164301 w 6514594"/>
              <a:gd name="connsiteY30" fmla="*/ 338244 h 823180"/>
              <a:gd name="connsiteX31" fmla="*/ 4620645 w 6514594"/>
              <a:gd name="connsiteY31" fmla="*/ 338244 h 823180"/>
              <a:gd name="connsiteX32" fmla="*/ 4401173 w 6514594"/>
              <a:gd name="connsiteY32" fmla="*/ 136105 h 823180"/>
              <a:gd name="connsiteX33" fmla="*/ 2734586 w 6514594"/>
              <a:gd name="connsiteY33" fmla="*/ 123766 h 823180"/>
              <a:gd name="connsiteX34" fmla="*/ 2496430 w 6514594"/>
              <a:gd name="connsiteY34" fmla="*/ 410821 h 823180"/>
              <a:gd name="connsiteX35" fmla="*/ 2734586 w 6514594"/>
              <a:gd name="connsiteY35" fmla="*/ 699403 h 823180"/>
              <a:gd name="connsiteX36" fmla="*/ 2971108 w 6514594"/>
              <a:gd name="connsiteY36" fmla="*/ 410821 h 823180"/>
              <a:gd name="connsiteX37" fmla="*/ 2734586 w 6514594"/>
              <a:gd name="connsiteY37" fmla="*/ 123766 h 823180"/>
              <a:gd name="connsiteX38" fmla="*/ 1178468 w 6514594"/>
              <a:gd name="connsiteY38" fmla="*/ 123766 h 823180"/>
              <a:gd name="connsiteX39" fmla="*/ 940307 w 6514594"/>
              <a:gd name="connsiteY39" fmla="*/ 410821 h 823180"/>
              <a:gd name="connsiteX40" fmla="*/ 1178468 w 6514594"/>
              <a:gd name="connsiteY40" fmla="*/ 699403 h 823180"/>
              <a:gd name="connsiteX41" fmla="*/ 1414990 w 6514594"/>
              <a:gd name="connsiteY41" fmla="*/ 410821 h 823180"/>
              <a:gd name="connsiteX42" fmla="*/ 1178468 w 6514594"/>
              <a:gd name="connsiteY42" fmla="*/ 123766 h 823180"/>
              <a:gd name="connsiteX43" fmla="*/ 2185691 w 6514594"/>
              <a:gd name="connsiteY43" fmla="*/ 17462 h 823180"/>
              <a:gd name="connsiteX44" fmla="*/ 2353179 w 6514594"/>
              <a:gd name="connsiteY44" fmla="*/ 17462 h 823180"/>
              <a:gd name="connsiteX45" fmla="*/ 2335657 w 6514594"/>
              <a:gd name="connsiteY45" fmla="*/ 62216 h 823180"/>
              <a:gd name="connsiteX46" fmla="*/ 2043467 w 6514594"/>
              <a:gd name="connsiteY46" fmla="*/ 805830 h 823180"/>
              <a:gd name="connsiteX47" fmla="*/ 1867958 w 6514594"/>
              <a:gd name="connsiteY47" fmla="*/ 805830 h 823180"/>
              <a:gd name="connsiteX48" fmla="*/ 1760558 w 6514594"/>
              <a:gd name="connsiteY48" fmla="*/ 532528 h 823180"/>
              <a:gd name="connsiteX49" fmla="*/ 1764816 w 6514594"/>
              <a:gd name="connsiteY49" fmla="*/ 497489 h 823180"/>
              <a:gd name="connsiteX50" fmla="*/ 1812618 w 6514594"/>
              <a:gd name="connsiteY50" fmla="*/ 430257 h 823180"/>
              <a:gd name="connsiteX51" fmla="*/ 1878001 w 6514594"/>
              <a:gd name="connsiteY51" fmla="*/ 439859 h 823180"/>
              <a:gd name="connsiteX52" fmla="*/ 1922314 w 6514594"/>
              <a:gd name="connsiteY52" fmla="*/ 622573 h 823180"/>
              <a:gd name="connsiteX53" fmla="*/ 1954401 w 6514594"/>
              <a:gd name="connsiteY53" fmla="*/ 653133 h 823180"/>
              <a:gd name="connsiteX54" fmla="*/ 1955277 w 6514594"/>
              <a:gd name="connsiteY54" fmla="*/ 653133 h 823180"/>
              <a:gd name="connsiteX55" fmla="*/ 1987256 w 6514594"/>
              <a:gd name="connsiteY55" fmla="*/ 622573 h 823180"/>
              <a:gd name="connsiteX56" fmla="*/ 2048161 w 6514594"/>
              <a:gd name="connsiteY56" fmla="*/ 392928 h 823180"/>
              <a:gd name="connsiteX57" fmla="*/ 5615427 w 6514594"/>
              <a:gd name="connsiteY57" fmla="*/ 17457 h 823180"/>
              <a:gd name="connsiteX58" fmla="*/ 5773146 w 6514594"/>
              <a:gd name="connsiteY58" fmla="*/ 17457 h 823180"/>
              <a:gd name="connsiteX59" fmla="*/ 5773146 w 6514594"/>
              <a:gd name="connsiteY59" fmla="*/ 83491 h 823180"/>
              <a:gd name="connsiteX60" fmla="*/ 5767587 w 6514594"/>
              <a:gd name="connsiteY60" fmla="*/ 100846 h 823180"/>
              <a:gd name="connsiteX61" fmla="*/ 5682790 w 6514594"/>
              <a:gd name="connsiteY61" fmla="*/ 220359 h 823180"/>
              <a:gd name="connsiteX62" fmla="*/ 5615427 w 6514594"/>
              <a:gd name="connsiteY62" fmla="*/ 198859 h 823180"/>
              <a:gd name="connsiteX63" fmla="*/ 2353221 w 6514594"/>
              <a:gd name="connsiteY63" fmla="*/ 17355 h 823180"/>
              <a:gd name="connsiteX64" fmla="*/ 2353221 w 6514594"/>
              <a:gd name="connsiteY64" fmla="*/ 17462 h 823180"/>
              <a:gd name="connsiteX65" fmla="*/ 2353179 w 6514594"/>
              <a:gd name="connsiteY65" fmla="*/ 17462 h 823180"/>
              <a:gd name="connsiteX66" fmla="*/ 1558181 w 6514594"/>
              <a:gd name="connsiteY66" fmla="*/ 17355 h 823180"/>
              <a:gd name="connsiteX67" fmla="*/ 1727357 w 6514594"/>
              <a:gd name="connsiteY67" fmla="*/ 17355 h 823180"/>
              <a:gd name="connsiteX68" fmla="*/ 1824284 w 6514594"/>
              <a:gd name="connsiteY68" fmla="*/ 289017 h 823180"/>
              <a:gd name="connsiteX69" fmla="*/ 1824392 w 6514594"/>
              <a:gd name="connsiteY69" fmla="*/ 289017 h 823180"/>
              <a:gd name="connsiteX70" fmla="*/ 1819698 w 6514594"/>
              <a:gd name="connsiteY70" fmla="*/ 322964 h 823180"/>
              <a:gd name="connsiteX71" fmla="*/ 1768616 w 6514594"/>
              <a:gd name="connsiteY71" fmla="*/ 395004 h 823180"/>
              <a:gd name="connsiteX72" fmla="*/ 1703787 w 6514594"/>
              <a:gd name="connsiteY72" fmla="*/ 387143 h 823180"/>
              <a:gd name="connsiteX73" fmla="*/ 1558181 w 6514594"/>
              <a:gd name="connsiteY73" fmla="*/ 17355 h 823180"/>
              <a:gd name="connsiteX74" fmla="*/ 4402474 w 6514594"/>
              <a:gd name="connsiteY74" fmla="*/ 3495 h 823180"/>
              <a:gd name="connsiteX75" fmla="*/ 4783402 w 6514594"/>
              <a:gd name="connsiteY75" fmla="*/ 425128 h 823180"/>
              <a:gd name="connsiteX76" fmla="*/ 4783402 w 6514594"/>
              <a:gd name="connsiteY76" fmla="*/ 463000 h 823180"/>
              <a:gd name="connsiteX77" fmla="*/ 4162780 w 6514594"/>
              <a:gd name="connsiteY77" fmla="*/ 463000 h 823180"/>
              <a:gd name="connsiteX78" fmla="*/ 4401173 w 6514594"/>
              <a:gd name="connsiteY78" fmla="*/ 690462 h 823180"/>
              <a:gd name="connsiteX79" fmla="*/ 4601344 w 6514594"/>
              <a:gd name="connsiteY79" fmla="*/ 578040 h 823180"/>
              <a:gd name="connsiteX80" fmla="*/ 4636043 w 6514594"/>
              <a:gd name="connsiteY80" fmla="*/ 555120 h 823180"/>
              <a:gd name="connsiteX81" fmla="*/ 4636043 w 6514594"/>
              <a:gd name="connsiteY81" fmla="*/ 555228 h 823180"/>
              <a:gd name="connsiteX82" fmla="*/ 4771826 w 6514594"/>
              <a:gd name="connsiteY82" fmla="*/ 555228 h 823180"/>
              <a:gd name="connsiteX83" fmla="*/ 4405969 w 6514594"/>
              <a:gd name="connsiteY83" fmla="*/ 823180 h 823180"/>
              <a:gd name="connsiteX84" fmla="*/ 4008013 w 6514594"/>
              <a:gd name="connsiteY84" fmla="*/ 409628 h 823180"/>
              <a:gd name="connsiteX85" fmla="*/ 4402474 w 6514594"/>
              <a:gd name="connsiteY85" fmla="*/ 3495 h 823180"/>
              <a:gd name="connsiteX86" fmla="*/ 3613231 w 6514594"/>
              <a:gd name="connsiteY86" fmla="*/ 1527 h 823180"/>
              <a:gd name="connsiteX87" fmla="*/ 3907060 w 6514594"/>
              <a:gd name="connsiteY87" fmla="*/ 231715 h 823180"/>
              <a:gd name="connsiteX88" fmla="*/ 3900715 w 6514594"/>
              <a:gd name="connsiteY88" fmla="*/ 259770 h 823180"/>
              <a:gd name="connsiteX89" fmla="*/ 3820934 w 6514594"/>
              <a:gd name="connsiteY89" fmla="*/ 372299 h 823180"/>
              <a:gd name="connsiteX90" fmla="*/ 3820827 w 6514594"/>
              <a:gd name="connsiteY90" fmla="*/ 372299 h 823180"/>
              <a:gd name="connsiteX91" fmla="*/ 3753487 w 6514594"/>
              <a:gd name="connsiteY91" fmla="*/ 350799 h 823180"/>
              <a:gd name="connsiteX92" fmla="*/ 3753487 w 6514594"/>
              <a:gd name="connsiteY92" fmla="*/ 315325 h 823180"/>
              <a:gd name="connsiteX93" fmla="*/ 3575246 w 6514594"/>
              <a:gd name="connsiteY93" fmla="*/ 140251 h 823180"/>
              <a:gd name="connsiteX94" fmla="*/ 3388715 w 6514594"/>
              <a:gd name="connsiteY94" fmla="*/ 234667 h 823180"/>
              <a:gd name="connsiteX95" fmla="*/ 3378117 w 6514594"/>
              <a:gd name="connsiteY95" fmla="*/ 267625 h 823180"/>
              <a:gd name="connsiteX96" fmla="*/ 3378117 w 6514594"/>
              <a:gd name="connsiteY96" fmla="*/ 805825 h 823180"/>
              <a:gd name="connsiteX97" fmla="*/ 3220398 w 6514594"/>
              <a:gd name="connsiteY97" fmla="*/ 805825 h 823180"/>
              <a:gd name="connsiteX98" fmla="*/ 3220398 w 6514594"/>
              <a:gd name="connsiteY98" fmla="*/ 17355 h 823180"/>
              <a:gd name="connsiteX99" fmla="*/ 3371795 w 6514594"/>
              <a:gd name="connsiteY99" fmla="*/ 17355 h 823180"/>
              <a:gd name="connsiteX100" fmla="*/ 3338289 w 6514594"/>
              <a:gd name="connsiteY100" fmla="*/ 133595 h 823180"/>
              <a:gd name="connsiteX101" fmla="*/ 3364155 w 6514594"/>
              <a:gd name="connsiteY101" fmla="*/ 173321 h 823180"/>
              <a:gd name="connsiteX102" fmla="*/ 3385763 w 6514594"/>
              <a:gd name="connsiteY102" fmla="*/ 160445 h 823180"/>
              <a:gd name="connsiteX103" fmla="*/ 3613231 w 6514594"/>
              <a:gd name="connsiteY103" fmla="*/ 1527 h 823180"/>
              <a:gd name="connsiteX104" fmla="*/ 392713 w 6514594"/>
              <a:gd name="connsiteY104" fmla="*/ 1527 h 823180"/>
              <a:gd name="connsiteX105" fmla="*/ 686538 w 6514594"/>
              <a:gd name="connsiteY105" fmla="*/ 231715 h 823180"/>
              <a:gd name="connsiteX106" fmla="*/ 680210 w 6514594"/>
              <a:gd name="connsiteY106" fmla="*/ 259770 h 823180"/>
              <a:gd name="connsiteX107" fmla="*/ 600423 w 6514594"/>
              <a:gd name="connsiteY107" fmla="*/ 372299 h 823180"/>
              <a:gd name="connsiteX108" fmla="*/ 533077 w 6514594"/>
              <a:gd name="connsiteY108" fmla="*/ 350799 h 823180"/>
              <a:gd name="connsiteX109" fmla="*/ 533077 w 6514594"/>
              <a:gd name="connsiteY109" fmla="*/ 315325 h 823180"/>
              <a:gd name="connsiteX110" fmla="*/ 354842 w 6514594"/>
              <a:gd name="connsiteY110" fmla="*/ 140251 h 823180"/>
              <a:gd name="connsiteX111" fmla="*/ 168305 w 6514594"/>
              <a:gd name="connsiteY111" fmla="*/ 234667 h 823180"/>
              <a:gd name="connsiteX112" fmla="*/ 157719 w 6514594"/>
              <a:gd name="connsiteY112" fmla="*/ 267625 h 823180"/>
              <a:gd name="connsiteX113" fmla="*/ 157719 w 6514594"/>
              <a:gd name="connsiteY113" fmla="*/ 805825 h 823180"/>
              <a:gd name="connsiteX114" fmla="*/ 0 w 6514594"/>
              <a:gd name="connsiteY114" fmla="*/ 805825 h 823180"/>
              <a:gd name="connsiteX115" fmla="*/ 0 w 6514594"/>
              <a:gd name="connsiteY115" fmla="*/ 17355 h 823180"/>
              <a:gd name="connsiteX116" fmla="*/ 151277 w 6514594"/>
              <a:gd name="connsiteY116" fmla="*/ 17355 h 823180"/>
              <a:gd name="connsiteX117" fmla="*/ 117771 w 6514594"/>
              <a:gd name="connsiteY117" fmla="*/ 133595 h 823180"/>
              <a:gd name="connsiteX118" fmla="*/ 143638 w 6514594"/>
              <a:gd name="connsiteY118" fmla="*/ 173321 h 823180"/>
              <a:gd name="connsiteX119" fmla="*/ 165251 w 6514594"/>
              <a:gd name="connsiteY119" fmla="*/ 160445 h 823180"/>
              <a:gd name="connsiteX120" fmla="*/ 392713 w 6514594"/>
              <a:gd name="connsiteY120" fmla="*/ 1527 h 823180"/>
              <a:gd name="connsiteX121" fmla="*/ 2734479 w 6514594"/>
              <a:gd name="connsiteY121" fmla="*/ 758 h 823180"/>
              <a:gd name="connsiteX122" fmla="*/ 3124025 w 6514594"/>
              <a:gd name="connsiteY122" fmla="*/ 410821 h 823180"/>
              <a:gd name="connsiteX123" fmla="*/ 2734479 w 6514594"/>
              <a:gd name="connsiteY123" fmla="*/ 822411 h 823180"/>
              <a:gd name="connsiteX124" fmla="*/ 2343405 w 6514594"/>
              <a:gd name="connsiteY124" fmla="*/ 410821 h 823180"/>
              <a:gd name="connsiteX125" fmla="*/ 2734479 w 6514594"/>
              <a:gd name="connsiteY125" fmla="*/ 758 h 823180"/>
              <a:gd name="connsiteX126" fmla="*/ 1178355 w 6514594"/>
              <a:gd name="connsiteY126" fmla="*/ 758 h 823180"/>
              <a:gd name="connsiteX127" fmla="*/ 1567908 w 6514594"/>
              <a:gd name="connsiteY127" fmla="*/ 410821 h 823180"/>
              <a:gd name="connsiteX128" fmla="*/ 1178355 w 6514594"/>
              <a:gd name="connsiteY128" fmla="*/ 822411 h 823180"/>
              <a:gd name="connsiteX129" fmla="*/ 787282 w 6514594"/>
              <a:gd name="connsiteY129" fmla="*/ 410821 h 823180"/>
              <a:gd name="connsiteX130" fmla="*/ 1178355 w 6514594"/>
              <a:gd name="connsiteY130" fmla="*/ 758 h 823180"/>
              <a:gd name="connsiteX131" fmla="*/ 6183435 w 6514594"/>
              <a:gd name="connsiteY131" fmla="*/ 0 h 823180"/>
              <a:gd name="connsiteX132" fmla="*/ 6492550 w 6514594"/>
              <a:gd name="connsiteY132" fmla="*/ 257038 h 823180"/>
              <a:gd name="connsiteX133" fmla="*/ 6371052 w 6514594"/>
              <a:gd name="connsiteY133" fmla="*/ 257038 h 823180"/>
              <a:gd name="connsiteX134" fmla="*/ 6334832 w 6514594"/>
              <a:gd name="connsiteY134" fmla="*/ 227790 h 823180"/>
              <a:gd name="connsiteX135" fmla="*/ 6183435 w 6514594"/>
              <a:gd name="connsiteY135" fmla="*/ 124535 h 823180"/>
              <a:gd name="connsiteX136" fmla="*/ 6039894 w 6514594"/>
              <a:gd name="connsiteY136" fmla="*/ 219166 h 823180"/>
              <a:gd name="connsiteX137" fmla="*/ 6191296 w 6514594"/>
              <a:gd name="connsiteY137" fmla="*/ 339008 h 823180"/>
              <a:gd name="connsiteX138" fmla="*/ 6514594 w 6514594"/>
              <a:gd name="connsiteY138" fmla="*/ 596046 h 823180"/>
              <a:gd name="connsiteX139" fmla="*/ 6197635 w 6514594"/>
              <a:gd name="connsiteY139" fmla="*/ 823180 h 823180"/>
              <a:gd name="connsiteX140" fmla="*/ 5856965 w 6514594"/>
              <a:gd name="connsiteY140" fmla="*/ 555115 h 823180"/>
              <a:gd name="connsiteX141" fmla="*/ 5857072 w 6514594"/>
              <a:gd name="connsiteY141" fmla="*/ 555115 h 823180"/>
              <a:gd name="connsiteX142" fmla="*/ 5984672 w 6514594"/>
              <a:gd name="connsiteY142" fmla="*/ 555115 h 823180"/>
              <a:gd name="connsiteX143" fmla="*/ 6019722 w 6514594"/>
              <a:gd name="connsiteY143" fmla="*/ 580116 h 823180"/>
              <a:gd name="connsiteX144" fmla="*/ 6194570 w 6514594"/>
              <a:gd name="connsiteY144" fmla="*/ 698538 h 823180"/>
              <a:gd name="connsiteX145" fmla="*/ 6355461 w 6514594"/>
              <a:gd name="connsiteY145" fmla="*/ 596046 h 823180"/>
              <a:gd name="connsiteX146" fmla="*/ 6142499 w 6514594"/>
              <a:gd name="connsiteY146" fmla="*/ 471511 h 823180"/>
              <a:gd name="connsiteX147" fmla="*/ 5883826 w 6514594"/>
              <a:gd name="connsiteY147" fmla="*/ 219166 h 823180"/>
              <a:gd name="connsiteX148" fmla="*/ 6183435 w 6514594"/>
              <a:gd name="connsiteY148" fmla="*/ 0 h 823180"/>
              <a:gd name="connsiteX149" fmla="*/ 5176541 w 6514594"/>
              <a:gd name="connsiteY149" fmla="*/ 0 h 823180"/>
              <a:gd name="connsiteX150" fmla="*/ 5485656 w 6514594"/>
              <a:gd name="connsiteY150" fmla="*/ 257038 h 823180"/>
              <a:gd name="connsiteX151" fmla="*/ 5364181 w 6514594"/>
              <a:gd name="connsiteY151" fmla="*/ 257038 h 823180"/>
              <a:gd name="connsiteX152" fmla="*/ 5327937 w 6514594"/>
              <a:gd name="connsiteY152" fmla="*/ 227790 h 823180"/>
              <a:gd name="connsiteX153" fmla="*/ 5176541 w 6514594"/>
              <a:gd name="connsiteY153" fmla="*/ 124535 h 823180"/>
              <a:gd name="connsiteX154" fmla="*/ 5033022 w 6514594"/>
              <a:gd name="connsiteY154" fmla="*/ 219166 h 823180"/>
              <a:gd name="connsiteX155" fmla="*/ 5184401 w 6514594"/>
              <a:gd name="connsiteY155" fmla="*/ 339008 h 823180"/>
              <a:gd name="connsiteX156" fmla="*/ 5507700 w 6514594"/>
              <a:gd name="connsiteY156" fmla="*/ 596046 h 823180"/>
              <a:gd name="connsiteX157" fmla="*/ 5190741 w 6514594"/>
              <a:gd name="connsiteY157" fmla="*/ 823180 h 823180"/>
              <a:gd name="connsiteX158" fmla="*/ 4850093 w 6514594"/>
              <a:gd name="connsiteY158" fmla="*/ 555115 h 823180"/>
              <a:gd name="connsiteX159" fmla="*/ 4850200 w 6514594"/>
              <a:gd name="connsiteY159" fmla="*/ 555115 h 823180"/>
              <a:gd name="connsiteX160" fmla="*/ 4977801 w 6514594"/>
              <a:gd name="connsiteY160" fmla="*/ 555115 h 823180"/>
              <a:gd name="connsiteX161" fmla="*/ 5012828 w 6514594"/>
              <a:gd name="connsiteY161" fmla="*/ 580116 h 823180"/>
              <a:gd name="connsiteX162" fmla="*/ 5187681 w 6514594"/>
              <a:gd name="connsiteY162" fmla="*/ 698538 h 823180"/>
              <a:gd name="connsiteX163" fmla="*/ 5348567 w 6514594"/>
              <a:gd name="connsiteY163" fmla="*/ 596046 h 823180"/>
              <a:gd name="connsiteX164" fmla="*/ 5135627 w 6514594"/>
              <a:gd name="connsiteY164" fmla="*/ 471511 h 823180"/>
              <a:gd name="connsiteX165" fmla="*/ 4876932 w 6514594"/>
              <a:gd name="connsiteY165" fmla="*/ 219166 h 823180"/>
              <a:gd name="connsiteX166" fmla="*/ 5176541 w 6514594"/>
              <a:gd name="connsiteY166" fmla="*/ 0 h 82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6514594" h="823180">
                <a:moveTo>
                  <a:pt x="3880054" y="421753"/>
                </a:moveTo>
                <a:cubicBezTo>
                  <a:pt x="3896630" y="424507"/>
                  <a:pt x="3911313" y="438094"/>
                  <a:pt x="3911313" y="458414"/>
                </a:cubicBezTo>
                <a:lnTo>
                  <a:pt x="3911313" y="805825"/>
                </a:lnTo>
                <a:lnTo>
                  <a:pt x="3753594" y="805825"/>
                </a:lnTo>
                <a:lnTo>
                  <a:pt x="3753594" y="575965"/>
                </a:lnTo>
                <a:lnTo>
                  <a:pt x="3753594" y="575858"/>
                </a:lnTo>
                <a:cubicBezTo>
                  <a:pt x="3753594" y="568105"/>
                  <a:pt x="3755986" y="560685"/>
                  <a:pt x="3760459" y="554352"/>
                </a:cubicBezTo>
                <a:lnTo>
                  <a:pt x="3843956" y="436914"/>
                </a:lnTo>
                <a:cubicBezTo>
                  <a:pt x="3849194" y="429546"/>
                  <a:pt x="3856023" y="424949"/>
                  <a:pt x="3863320" y="422761"/>
                </a:cubicBezTo>
                <a:cubicBezTo>
                  <a:pt x="3868793" y="421120"/>
                  <a:pt x="3874528" y="420835"/>
                  <a:pt x="3880054" y="421753"/>
                </a:cubicBezTo>
                <a:close/>
                <a:moveTo>
                  <a:pt x="659546" y="421753"/>
                </a:moveTo>
                <a:cubicBezTo>
                  <a:pt x="676118" y="424507"/>
                  <a:pt x="690796" y="438094"/>
                  <a:pt x="690796" y="458414"/>
                </a:cubicBezTo>
                <a:lnTo>
                  <a:pt x="690796" y="805825"/>
                </a:lnTo>
                <a:lnTo>
                  <a:pt x="533077" y="805825"/>
                </a:lnTo>
                <a:lnTo>
                  <a:pt x="533077" y="575965"/>
                </a:lnTo>
                <a:lnTo>
                  <a:pt x="533077" y="575858"/>
                </a:lnTo>
                <a:cubicBezTo>
                  <a:pt x="533077" y="568105"/>
                  <a:pt x="535480" y="560685"/>
                  <a:pt x="539953" y="554352"/>
                </a:cubicBezTo>
                <a:lnTo>
                  <a:pt x="623450" y="436914"/>
                </a:lnTo>
                <a:cubicBezTo>
                  <a:pt x="628689" y="429546"/>
                  <a:pt x="635518" y="424949"/>
                  <a:pt x="642814" y="422761"/>
                </a:cubicBezTo>
                <a:cubicBezTo>
                  <a:pt x="648286" y="421120"/>
                  <a:pt x="654021" y="420835"/>
                  <a:pt x="659546" y="421753"/>
                </a:cubicBezTo>
                <a:close/>
                <a:moveTo>
                  <a:pt x="5741899" y="266767"/>
                </a:moveTo>
                <a:cubicBezTo>
                  <a:pt x="5758470" y="269521"/>
                  <a:pt x="5773146" y="283109"/>
                  <a:pt x="5773146" y="303432"/>
                </a:cubicBezTo>
                <a:lnTo>
                  <a:pt x="5773146" y="805938"/>
                </a:lnTo>
                <a:lnTo>
                  <a:pt x="5615427" y="805938"/>
                </a:lnTo>
                <a:lnTo>
                  <a:pt x="5615427" y="420876"/>
                </a:lnTo>
                <a:cubicBezTo>
                  <a:pt x="5615427" y="413123"/>
                  <a:pt x="5617836" y="405703"/>
                  <a:pt x="5622309" y="399370"/>
                </a:cubicBezTo>
                <a:lnTo>
                  <a:pt x="5705806" y="281931"/>
                </a:lnTo>
                <a:cubicBezTo>
                  <a:pt x="5711045" y="274563"/>
                  <a:pt x="5717874" y="269964"/>
                  <a:pt x="5725169" y="267776"/>
                </a:cubicBezTo>
                <a:cubicBezTo>
                  <a:pt x="5730641" y="266134"/>
                  <a:pt x="5736375" y="265849"/>
                  <a:pt x="5741899" y="266767"/>
                </a:cubicBezTo>
                <a:close/>
                <a:moveTo>
                  <a:pt x="4401173" y="136105"/>
                </a:moveTo>
                <a:cubicBezTo>
                  <a:pt x="4266906" y="136105"/>
                  <a:pt x="4176849" y="234011"/>
                  <a:pt x="4164301" y="338244"/>
                </a:cubicBezTo>
                <a:lnTo>
                  <a:pt x="4620645" y="338244"/>
                </a:lnTo>
                <a:cubicBezTo>
                  <a:pt x="4608096" y="246672"/>
                  <a:pt x="4536933" y="136105"/>
                  <a:pt x="4401173" y="136105"/>
                </a:cubicBezTo>
                <a:close/>
                <a:moveTo>
                  <a:pt x="2734586" y="123766"/>
                </a:moveTo>
                <a:cubicBezTo>
                  <a:pt x="2581685" y="123766"/>
                  <a:pt x="2496430" y="249941"/>
                  <a:pt x="2496430" y="410821"/>
                </a:cubicBezTo>
                <a:cubicBezTo>
                  <a:pt x="2496430" y="571701"/>
                  <a:pt x="2578406" y="699403"/>
                  <a:pt x="2734586" y="699403"/>
                </a:cubicBezTo>
                <a:cubicBezTo>
                  <a:pt x="2890784" y="699403"/>
                  <a:pt x="2971108" y="571701"/>
                  <a:pt x="2971108" y="410821"/>
                </a:cubicBezTo>
                <a:cubicBezTo>
                  <a:pt x="2971108" y="249941"/>
                  <a:pt x="2887504" y="123766"/>
                  <a:pt x="2734586" y="123766"/>
                </a:cubicBezTo>
                <a:close/>
                <a:moveTo>
                  <a:pt x="1178468" y="123766"/>
                </a:moveTo>
                <a:cubicBezTo>
                  <a:pt x="1025551" y="123766"/>
                  <a:pt x="940307" y="249941"/>
                  <a:pt x="940307" y="410821"/>
                </a:cubicBezTo>
                <a:cubicBezTo>
                  <a:pt x="940307" y="571701"/>
                  <a:pt x="1022276" y="699403"/>
                  <a:pt x="1178468" y="699403"/>
                </a:cubicBezTo>
                <a:cubicBezTo>
                  <a:pt x="1334660" y="699403"/>
                  <a:pt x="1414990" y="571701"/>
                  <a:pt x="1414990" y="410821"/>
                </a:cubicBezTo>
                <a:cubicBezTo>
                  <a:pt x="1414990" y="249941"/>
                  <a:pt x="1331380" y="123766"/>
                  <a:pt x="1178468" y="123766"/>
                </a:cubicBezTo>
                <a:close/>
                <a:moveTo>
                  <a:pt x="2185691" y="17462"/>
                </a:moveTo>
                <a:lnTo>
                  <a:pt x="2353179" y="17462"/>
                </a:lnTo>
                <a:lnTo>
                  <a:pt x="2335657" y="62216"/>
                </a:lnTo>
                <a:lnTo>
                  <a:pt x="2043467" y="805830"/>
                </a:lnTo>
                <a:lnTo>
                  <a:pt x="1867958" y="805830"/>
                </a:lnTo>
                <a:lnTo>
                  <a:pt x="1760558" y="532528"/>
                </a:lnTo>
                <a:cubicBezTo>
                  <a:pt x="1755971" y="520850"/>
                  <a:pt x="1757611" y="507640"/>
                  <a:pt x="1764816" y="497489"/>
                </a:cubicBezTo>
                <a:lnTo>
                  <a:pt x="1812618" y="430257"/>
                </a:lnTo>
                <a:cubicBezTo>
                  <a:pt x="1830194" y="405590"/>
                  <a:pt x="1868286" y="411047"/>
                  <a:pt x="1878001" y="439859"/>
                </a:cubicBezTo>
                <a:cubicBezTo>
                  <a:pt x="1896448" y="494651"/>
                  <a:pt x="1919255" y="570943"/>
                  <a:pt x="1922314" y="622573"/>
                </a:cubicBezTo>
                <a:cubicBezTo>
                  <a:pt x="1923298" y="639708"/>
                  <a:pt x="1937158" y="653133"/>
                  <a:pt x="1954401" y="653133"/>
                </a:cubicBezTo>
                <a:lnTo>
                  <a:pt x="1955277" y="653133"/>
                </a:lnTo>
                <a:cubicBezTo>
                  <a:pt x="1972412" y="653133"/>
                  <a:pt x="1986272" y="639600"/>
                  <a:pt x="1987256" y="622573"/>
                </a:cubicBezTo>
                <a:cubicBezTo>
                  <a:pt x="1992385" y="533834"/>
                  <a:pt x="2019671" y="471075"/>
                  <a:pt x="2048161" y="392928"/>
                </a:cubicBezTo>
                <a:close/>
                <a:moveTo>
                  <a:pt x="5615427" y="17457"/>
                </a:moveTo>
                <a:lnTo>
                  <a:pt x="5773146" y="17457"/>
                </a:lnTo>
                <a:lnTo>
                  <a:pt x="5773146" y="83491"/>
                </a:lnTo>
                <a:cubicBezTo>
                  <a:pt x="5773146" y="89711"/>
                  <a:pt x="5771189" y="95824"/>
                  <a:pt x="5767587" y="100846"/>
                </a:cubicBezTo>
                <a:lnTo>
                  <a:pt x="5682790" y="220359"/>
                </a:lnTo>
                <a:cubicBezTo>
                  <a:pt x="5661940" y="249828"/>
                  <a:pt x="5615427" y="234983"/>
                  <a:pt x="5615427" y="198859"/>
                </a:cubicBezTo>
                <a:close/>
                <a:moveTo>
                  <a:pt x="2353221" y="17355"/>
                </a:moveTo>
                <a:lnTo>
                  <a:pt x="2353221" y="17462"/>
                </a:lnTo>
                <a:lnTo>
                  <a:pt x="2353179" y="17462"/>
                </a:lnTo>
                <a:close/>
                <a:moveTo>
                  <a:pt x="1558181" y="17355"/>
                </a:moveTo>
                <a:lnTo>
                  <a:pt x="1727357" y="17355"/>
                </a:lnTo>
                <a:lnTo>
                  <a:pt x="1824284" y="289017"/>
                </a:lnTo>
                <a:lnTo>
                  <a:pt x="1824392" y="289017"/>
                </a:lnTo>
                <a:cubicBezTo>
                  <a:pt x="1828429" y="300373"/>
                  <a:pt x="1826682" y="313142"/>
                  <a:pt x="1819698" y="322964"/>
                </a:cubicBezTo>
                <a:lnTo>
                  <a:pt x="1768616" y="395004"/>
                </a:lnTo>
                <a:cubicBezTo>
                  <a:pt x="1751589" y="419015"/>
                  <a:pt x="1714588" y="414536"/>
                  <a:pt x="1703787" y="387143"/>
                </a:cubicBezTo>
                <a:cubicBezTo>
                  <a:pt x="1654232" y="261189"/>
                  <a:pt x="1558181" y="17355"/>
                  <a:pt x="1558181" y="17355"/>
                </a:cubicBezTo>
                <a:close/>
                <a:moveTo>
                  <a:pt x="4402474" y="3495"/>
                </a:moveTo>
                <a:cubicBezTo>
                  <a:pt x="4661146" y="2296"/>
                  <a:pt x="4783402" y="230408"/>
                  <a:pt x="4783402" y="425128"/>
                </a:cubicBezTo>
                <a:lnTo>
                  <a:pt x="4783402" y="463000"/>
                </a:lnTo>
                <a:lnTo>
                  <a:pt x="4162780" y="463000"/>
                </a:lnTo>
                <a:cubicBezTo>
                  <a:pt x="4162780" y="530889"/>
                  <a:pt x="4217894" y="690462"/>
                  <a:pt x="4401173" y="690462"/>
                </a:cubicBezTo>
                <a:cubicBezTo>
                  <a:pt x="4519256" y="690462"/>
                  <a:pt x="4575026" y="644509"/>
                  <a:pt x="4601344" y="578040"/>
                </a:cubicBezTo>
                <a:cubicBezTo>
                  <a:pt x="4606903" y="563959"/>
                  <a:pt x="4620973" y="555120"/>
                  <a:pt x="4636043" y="555120"/>
                </a:cubicBezTo>
                <a:lnTo>
                  <a:pt x="4636043" y="555228"/>
                </a:lnTo>
                <a:lnTo>
                  <a:pt x="4771826" y="555228"/>
                </a:lnTo>
                <a:cubicBezTo>
                  <a:pt x="4746723" y="694607"/>
                  <a:pt x="4615742" y="823180"/>
                  <a:pt x="4405969" y="823180"/>
                </a:cubicBezTo>
                <a:cubicBezTo>
                  <a:pt x="4168011" y="823180"/>
                  <a:pt x="4008776" y="667542"/>
                  <a:pt x="4008013" y="409628"/>
                </a:cubicBezTo>
                <a:cubicBezTo>
                  <a:pt x="4007363" y="189370"/>
                  <a:pt x="4182216" y="4479"/>
                  <a:pt x="4402474" y="3495"/>
                </a:cubicBezTo>
                <a:close/>
                <a:moveTo>
                  <a:pt x="3613231" y="1527"/>
                </a:moveTo>
                <a:cubicBezTo>
                  <a:pt x="3740045" y="1527"/>
                  <a:pt x="3881064" y="72362"/>
                  <a:pt x="3907060" y="231715"/>
                </a:cubicBezTo>
                <a:cubicBezTo>
                  <a:pt x="3908576" y="241538"/>
                  <a:pt x="3906518" y="251689"/>
                  <a:pt x="3900715" y="259770"/>
                </a:cubicBezTo>
                <a:lnTo>
                  <a:pt x="3820934" y="372299"/>
                </a:lnTo>
                <a:lnTo>
                  <a:pt x="3820827" y="372299"/>
                </a:lnTo>
                <a:cubicBezTo>
                  <a:pt x="3799982" y="401768"/>
                  <a:pt x="3753487" y="386923"/>
                  <a:pt x="3753487" y="350799"/>
                </a:cubicBezTo>
                <a:lnTo>
                  <a:pt x="3753487" y="315325"/>
                </a:lnTo>
                <a:cubicBezTo>
                  <a:pt x="3753487" y="197118"/>
                  <a:pt x="3685694" y="140251"/>
                  <a:pt x="3575246" y="140251"/>
                </a:cubicBezTo>
                <a:cubicBezTo>
                  <a:pt x="3496008" y="140251"/>
                  <a:pt x="3428537" y="179762"/>
                  <a:pt x="3388715" y="234667"/>
                </a:cubicBezTo>
                <a:cubicBezTo>
                  <a:pt x="3381719" y="244269"/>
                  <a:pt x="3378117" y="255839"/>
                  <a:pt x="3378117" y="267625"/>
                </a:cubicBezTo>
                <a:lnTo>
                  <a:pt x="3378117" y="805825"/>
                </a:lnTo>
                <a:lnTo>
                  <a:pt x="3220398" y="805825"/>
                </a:lnTo>
                <a:lnTo>
                  <a:pt x="3220398" y="17355"/>
                </a:lnTo>
                <a:lnTo>
                  <a:pt x="3371795" y="17355"/>
                </a:lnTo>
                <a:cubicBezTo>
                  <a:pt x="3371795" y="59044"/>
                  <a:pt x="3355859" y="100739"/>
                  <a:pt x="3338289" y="133595"/>
                </a:cubicBezTo>
                <a:cubicBezTo>
                  <a:pt x="3328234" y="152041"/>
                  <a:pt x="3342654" y="174633"/>
                  <a:pt x="3364155" y="173321"/>
                </a:cubicBezTo>
                <a:cubicBezTo>
                  <a:pt x="3372994" y="172778"/>
                  <a:pt x="3380747" y="167649"/>
                  <a:pt x="3385763" y="160445"/>
                </a:cubicBezTo>
                <a:cubicBezTo>
                  <a:pt x="3424828" y="103798"/>
                  <a:pt x="3486388" y="1527"/>
                  <a:pt x="3613231" y="1527"/>
                </a:cubicBezTo>
                <a:close/>
                <a:moveTo>
                  <a:pt x="392713" y="1527"/>
                </a:moveTo>
                <a:cubicBezTo>
                  <a:pt x="519544" y="1527"/>
                  <a:pt x="660564" y="72362"/>
                  <a:pt x="686538" y="231715"/>
                </a:cubicBezTo>
                <a:cubicBezTo>
                  <a:pt x="688064" y="241538"/>
                  <a:pt x="685995" y="251689"/>
                  <a:pt x="680210" y="259770"/>
                </a:cubicBezTo>
                <a:lnTo>
                  <a:pt x="600423" y="372299"/>
                </a:lnTo>
                <a:cubicBezTo>
                  <a:pt x="579573" y="401768"/>
                  <a:pt x="533077" y="386923"/>
                  <a:pt x="533077" y="350799"/>
                </a:cubicBezTo>
                <a:lnTo>
                  <a:pt x="533077" y="315325"/>
                </a:lnTo>
                <a:cubicBezTo>
                  <a:pt x="533077" y="197118"/>
                  <a:pt x="465296" y="140251"/>
                  <a:pt x="354842" y="140251"/>
                </a:cubicBezTo>
                <a:cubicBezTo>
                  <a:pt x="275598" y="140251"/>
                  <a:pt x="208144" y="179762"/>
                  <a:pt x="168305" y="234667"/>
                </a:cubicBezTo>
                <a:cubicBezTo>
                  <a:pt x="161321" y="244269"/>
                  <a:pt x="157719" y="255839"/>
                  <a:pt x="157719" y="267625"/>
                </a:cubicBezTo>
                <a:lnTo>
                  <a:pt x="157719" y="805825"/>
                </a:lnTo>
                <a:lnTo>
                  <a:pt x="0" y="805825"/>
                </a:lnTo>
                <a:lnTo>
                  <a:pt x="0" y="17355"/>
                </a:lnTo>
                <a:lnTo>
                  <a:pt x="151277" y="17355"/>
                </a:lnTo>
                <a:cubicBezTo>
                  <a:pt x="151277" y="59044"/>
                  <a:pt x="135342" y="100739"/>
                  <a:pt x="117771" y="133595"/>
                </a:cubicBezTo>
                <a:cubicBezTo>
                  <a:pt x="107728" y="152041"/>
                  <a:pt x="122137" y="174633"/>
                  <a:pt x="143638" y="173321"/>
                </a:cubicBezTo>
                <a:cubicBezTo>
                  <a:pt x="152476" y="172778"/>
                  <a:pt x="160229" y="167649"/>
                  <a:pt x="165251" y="160445"/>
                </a:cubicBezTo>
                <a:cubicBezTo>
                  <a:pt x="204322" y="103798"/>
                  <a:pt x="265882" y="1527"/>
                  <a:pt x="392713" y="1527"/>
                </a:cubicBezTo>
                <a:close/>
                <a:moveTo>
                  <a:pt x="2734479" y="758"/>
                </a:moveTo>
                <a:cubicBezTo>
                  <a:pt x="2980512" y="758"/>
                  <a:pt x="3124025" y="158477"/>
                  <a:pt x="3124025" y="410821"/>
                </a:cubicBezTo>
                <a:cubicBezTo>
                  <a:pt x="3124025" y="663165"/>
                  <a:pt x="2978968" y="822411"/>
                  <a:pt x="2734479" y="822411"/>
                </a:cubicBezTo>
                <a:cubicBezTo>
                  <a:pt x="2490006" y="822411"/>
                  <a:pt x="2343405" y="664698"/>
                  <a:pt x="2343405" y="410821"/>
                </a:cubicBezTo>
                <a:cubicBezTo>
                  <a:pt x="2343405" y="158477"/>
                  <a:pt x="2488462" y="758"/>
                  <a:pt x="2734479" y="758"/>
                </a:cubicBezTo>
                <a:close/>
                <a:moveTo>
                  <a:pt x="1178355" y="758"/>
                </a:moveTo>
                <a:cubicBezTo>
                  <a:pt x="1424377" y="758"/>
                  <a:pt x="1567908" y="158477"/>
                  <a:pt x="1567908" y="410821"/>
                </a:cubicBezTo>
                <a:cubicBezTo>
                  <a:pt x="1567908" y="663165"/>
                  <a:pt x="1422850" y="822411"/>
                  <a:pt x="1178355" y="822411"/>
                </a:cubicBezTo>
                <a:cubicBezTo>
                  <a:pt x="933866" y="822411"/>
                  <a:pt x="787282" y="664698"/>
                  <a:pt x="787282" y="410821"/>
                </a:cubicBezTo>
                <a:cubicBezTo>
                  <a:pt x="787282" y="158477"/>
                  <a:pt x="932339" y="758"/>
                  <a:pt x="1178355" y="758"/>
                </a:cubicBezTo>
                <a:close/>
                <a:moveTo>
                  <a:pt x="6183435" y="0"/>
                </a:moveTo>
                <a:cubicBezTo>
                  <a:pt x="6371052" y="0"/>
                  <a:pt x="6486211" y="113513"/>
                  <a:pt x="6492550" y="257038"/>
                </a:cubicBezTo>
                <a:lnTo>
                  <a:pt x="6371052" y="257038"/>
                </a:lnTo>
                <a:cubicBezTo>
                  <a:pt x="6353595" y="257038"/>
                  <a:pt x="6338762" y="244818"/>
                  <a:pt x="6334832" y="227790"/>
                </a:cubicBezTo>
                <a:cubicBezTo>
                  <a:pt x="6318347" y="156735"/>
                  <a:pt x="6270099" y="124535"/>
                  <a:pt x="6183435" y="124535"/>
                </a:cubicBezTo>
                <a:cubicBezTo>
                  <a:pt x="6107692" y="124535"/>
                  <a:pt x="6039894" y="154445"/>
                  <a:pt x="6039894" y="219166"/>
                </a:cubicBezTo>
                <a:cubicBezTo>
                  <a:pt x="6039894" y="297969"/>
                  <a:pt x="6125042" y="324819"/>
                  <a:pt x="6191296" y="339008"/>
                </a:cubicBezTo>
                <a:cubicBezTo>
                  <a:pt x="6336353" y="369025"/>
                  <a:pt x="6514594" y="424144"/>
                  <a:pt x="6514594" y="596046"/>
                </a:cubicBezTo>
                <a:cubicBezTo>
                  <a:pt x="6514594" y="741103"/>
                  <a:pt x="6382085" y="823180"/>
                  <a:pt x="6197635" y="823180"/>
                </a:cubicBezTo>
                <a:cubicBezTo>
                  <a:pt x="6013162" y="823180"/>
                  <a:pt x="5875858" y="723861"/>
                  <a:pt x="5856965" y="555115"/>
                </a:cubicBezTo>
                <a:lnTo>
                  <a:pt x="5857072" y="555115"/>
                </a:lnTo>
                <a:lnTo>
                  <a:pt x="5984672" y="555115"/>
                </a:lnTo>
                <a:cubicBezTo>
                  <a:pt x="6000501" y="555115"/>
                  <a:pt x="6014791" y="565158"/>
                  <a:pt x="6019722" y="580116"/>
                </a:cubicBezTo>
                <a:cubicBezTo>
                  <a:pt x="6045475" y="659461"/>
                  <a:pt x="6112923" y="698538"/>
                  <a:pt x="6194570" y="698538"/>
                </a:cubicBezTo>
                <a:cubicBezTo>
                  <a:pt x="6286040" y="698538"/>
                  <a:pt x="6355461" y="674849"/>
                  <a:pt x="6355461" y="596046"/>
                </a:cubicBezTo>
                <a:cubicBezTo>
                  <a:pt x="6355461" y="517243"/>
                  <a:pt x="6281346" y="501420"/>
                  <a:pt x="6142499" y="471511"/>
                </a:cubicBezTo>
                <a:cubicBezTo>
                  <a:pt x="6017856" y="446301"/>
                  <a:pt x="5883826" y="375353"/>
                  <a:pt x="5883826" y="219166"/>
                </a:cubicBezTo>
                <a:cubicBezTo>
                  <a:pt x="5883826" y="62980"/>
                  <a:pt x="6038373" y="0"/>
                  <a:pt x="6183435" y="0"/>
                </a:cubicBezTo>
                <a:close/>
                <a:moveTo>
                  <a:pt x="5176541" y="0"/>
                </a:moveTo>
                <a:cubicBezTo>
                  <a:pt x="5364181" y="0"/>
                  <a:pt x="5479317" y="113513"/>
                  <a:pt x="5485656" y="257038"/>
                </a:cubicBezTo>
                <a:lnTo>
                  <a:pt x="5364181" y="257038"/>
                </a:lnTo>
                <a:cubicBezTo>
                  <a:pt x="5346724" y="257038"/>
                  <a:pt x="5331868" y="244818"/>
                  <a:pt x="5327937" y="227790"/>
                </a:cubicBezTo>
                <a:cubicBezTo>
                  <a:pt x="5311459" y="156735"/>
                  <a:pt x="5263204" y="124535"/>
                  <a:pt x="5176541" y="124535"/>
                </a:cubicBezTo>
                <a:cubicBezTo>
                  <a:pt x="5100798" y="124535"/>
                  <a:pt x="5033022" y="154445"/>
                  <a:pt x="5033022" y="219166"/>
                </a:cubicBezTo>
                <a:cubicBezTo>
                  <a:pt x="5033022" y="297969"/>
                  <a:pt x="5118147" y="324819"/>
                  <a:pt x="5184401" y="339008"/>
                </a:cubicBezTo>
                <a:cubicBezTo>
                  <a:pt x="5329459" y="369025"/>
                  <a:pt x="5507700" y="424144"/>
                  <a:pt x="5507700" y="596046"/>
                </a:cubicBezTo>
                <a:cubicBezTo>
                  <a:pt x="5507700" y="741103"/>
                  <a:pt x="5375191" y="823180"/>
                  <a:pt x="5190741" y="823180"/>
                </a:cubicBezTo>
                <a:cubicBezTo>
                  <a:pt x="5006268" y="823180"/>
                  <a:pt x="4868964" y="723861"/>
                  <a:pt x="4850093" y="555115"/>
                </a:cubicBezTo>
                <a:lnTo>
                  <a:pt x="4850200" y="555115"/>
                </a:lnTo>
                <a:lnTo>
                  <a:pt x="4977801" y="555115"/>
                </a:lnTo>
                <a:cubicBezTo>
                  <a:pt x="4993612" y="555115"/>
                  <a:pt x="5007919" y="565158"/>
                  <a:pt x="5012828" y="580116"/>
                </a:cubicBezTo>
                <a:cubicBezTo>
                  <a:pt x="5038581" y="659461"/>
                  <a:pt x="5106051" y="698538"/>
                  <a:pt x="5187681" y="698538"/>
                </a:cubicBezTo>
                <a:cubicBezTo>
                  <a:pt x="5279146" y="698538"/>
                  <a:pt x="5348567" y="674849"/>
                  <a:pt x="5348567" y="596046"/>
                </a:cubicBezTo>
                <a:cubicBezTo>
                  <a:pt x="5348567" y="517243"/>
                  <a:pt x="5274452" y="501420"/>
                  <a:pt x="5135627" y="471511"/>
                </a:cubicBezTo>
                <a:cubicBezTo>
                  <a:pt x="5010984" y="446301"/>
                  <a:pt x="4876932" y="375353"/>
                  <a:pt x="4876932" y="219166"/>
                </a:cubicBezTo>
                <a:cubicBezTo>
                  <a:pt x="4876932" y="62980"/>
                  <a:pt x="5031501" y="0"/>
                  <a:pt x="5176541" y="0"/>
                </a:cubicBezTo>
                <a:close/>
              </a:path>
            </a:pathLst>
          </a:custGeom>
          <a:solidFill>
            <a:srgbClr val="263140"/>
          </a:solidFill>
        </p:spPr>
        <p:txBody>
          <a:bodyPr wrap="square">
            <a:noAutofit/>
          </a:bodyPr>
          <a:lstStyle>
            <a:lvl1pPr marL="0" indent="0">
              <a:buFontTx/>
              <a:buNone/>
              <a:defRPr sz="800">
                <a:noFill/>
              </a:defRPr>
            </a:lvl1pPr>
          </a:lstStyle>
          <a:p>
            <a:pPr lvl="0"/>
            <a:r>
              <a:rPr lang="en-US" dirty="0"/>
              <a:t>10571432</a:t>
            </a:r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CDB80E48-6060-225C-B0FA-58A40167651B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20461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  <p15:guide id="2" orient="horz" pos="18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- Juniper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me 3">
            <a:extLst>
              <a:ext uri="{FF2B5EF4-FFF2-40B4-BE49-F238E27FC236}">
                <a16:creationId xmlns:a16="http://schemas.microsoft.com/office/drawing/2014/main" id="{DE911BAF-FBA9-CB4E-5236-B718DE51CCF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8000" y="457200"/>
            <a:ext cx="2869200" cy="140400"/>
          </a:xfrm>
        </p:spPr>
        <p:txBody>
          <a:bodyPr/>
          <a:lstStyle>
            <a:lvl1pPr marL="0" indent="0">
              <a:buFont typeface="Rale Body" pitchFamily="2" charset="0"/>
              <a:buChar char="​"/>
              <a:defRPr sz="1100">
                <a:solidFill>
                  <a:srgbClr val="EFF1FF"/>
                </a:solidFill>
              </a:defRPr>
            </a:lvl1pPr>
            <a:lvl2pPr marL="108000" indent="-108000">
              <a:defRPr sz="1100">
                <a:solidFill>
                  <a:srgbClr val="EFF1FF"/>
                </a:solidFill>
              </a:defRPr>
            </a:lvl2pPr>
            <a:lvl3pPr marL="216000" indent="-108000">
              <a:defRPr sz="1100">
                <a:solidFill>
                  <a:srgbClr val="EFF1FF"/>
                </a:solidFill>
              </a:defRPr>
            </a:lvl3pPr>
            <a:lvl4pPr marL="324000" indent="-108000">
              <a:defRPr sz="1100">
                <a:solidFill>
                  <a:srgbClr val="EFF1FF"/>
                </a:solidFill>
              </a:defRPr>
            </a:lvl4pPr>
            <a:lvl5pPr marL="432000" indent="-108000">
              <a:defRPr sz="1100"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type “Chapter” and numb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A381BF0-6236-834C-282A-65E70E8776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6725" y="2889250"/>
            <a:ext cx="5514975" cy="1522797"/>
          </a:xfrm>
        </p:spPr>
        <p:txBody>
          <a:bodyPr anchor="t" anchorCtr="0"/>
          <a:lstStyle>
            <a:lvl1pPr marL="0" indent="0">
              <a:buFont typeface="Rale Body" pitchFamily="2" charset="0"/>
              <a:buChar char="​"/>
              <a:defRPr sz="1800">
                <a:solidFill>
                  <a:srgbClr val="EFF1FF"/>
                </a:solidFill>
              </a:defRPr>
            </a:lvl1pPr>
            <a:lvl2pPr marL="216000">
              <a:defRPr sz="1800">
                <a:solidFill>
                  <a:srgbClr val="EFF1FF"/>
                </a:solidFill>
              </a:defRPr>
            </a:lvl2pPr>
            <a:lvl3pPr marL="432000">
              <a:defRPr sz="1800">
                <a:solidFill>
                  <a:srgbClr val="EFF1FF"/>
                </a:solidFill>
              </a:defRPr>
            </a:lvl3pPr>
            <a:lvl4pPr marL="648000">
              <a:defRPr sz="1800">
                <a:solidFill>
                  <a:srgbClr val="EFF1FF"/>
                </a:solidFill>
              </a:defRPr>
            </a:lvl4pPr>
            <a:lvl5pPr marL="864000">
              <a:defRPr sz="1800">
                <a:solidFill>
                  <a:srgbClr val="EFF1FF"/>
                </a:solidFill>
              </a:defRPr>
            </a:lvl5pPr>
          </a:lstStyle>
          <a:p>
            <a:pPr lvl="0"/>
            <a:r>
              <a:rPr lang="en-GB" dirty="0"/>
              <a:t>Click to insert subtitl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8599A31-BDD5-7171-AFEA-24710CE453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800" y="1008000"/>
            <a:ext cx="7432675" cy="590931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EFF1FF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3DC8141-FCDB-713B-FD09-0EDA06602848}"/>
              </a:ext>
            </a:extLst>
          </p:cNvPr>
          <p:cNvSpPr>
            <a:spLocks noGrp="1"/>
          </p:cNvSpPr>
          <p:nvPr>
            <p:ph type="sldNum" sz="quarter" idx="105"/>
          </p:nvPr>
        </p:nvSpPr>
        <p:spPr/>
        <p:txBody>
          <a:bodyPr/>
          <a:lstStyle>
            <a:lvl1pPr>
              <a:defRPr>
                <a:solidFill>
                  <a:srgbClr val="EFF1FF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DFD1AE67-1E4D-5D61-30C9-8BB5FD1B6FB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white">
          <a:xfrm>
            <a:off x="10742400" y="6350400"/>
            <a:ext cx="982876" cy="124498"/>
          </a:xfrm>
          <a:custGeom>
            <a:avLst/>
            <a:gdLst>
              <a:gd name="connsiteX0" fmla="*/ 3880054 w 6514594"/>
              <a:gd name="connsiteY0" fmla="*/ 421753 h 823180"/>
              <a:gd name="connsiteX1" fmla="*/ 3911313 w 6514594"/>
              <a:gd name="connsiteY1" fmla="*/ 458414 h 823180"/>
              <a:gd name="connsiteX2" fmla="*/ 3911313 w 6514594"/>
              <a:gd name="connsiteY2" fmla="*/ 805825 h 823180"/>
              <a:gd name="connsiteX3" fmla="*/ 3753594 w 6514594"/>
              <a:gd name="connsiteY3" fmla="*/ 805825 h 823180"/>
              <a:gd name="connsiteX4" fmla="*/ 3753594 w 6514594"/>
              <a:gd name="connsiteY4" fmla="*/ 575965 h 823180"/>
              <a:gd name="connsiteX5" fmla="*/ 3753594 w 6514594"/>
              <a:gd name="connsiteY5" fmla="*/ 575858 h 823180"/>
              <a:gd name="connsiteX6" fmla="*/ 3760459 w 6514594"/>
              <a:gd name="connsiteY6" fmla="*/ 554352 h 823180"/>
              <a:gd name="connsiteX7" fmla="*/ 3843956 w 6514594"/>
              <a:gd name="connsiteY7" fmla="*/ 436914 h 823180"/>
              <a:gd name="connsiteX8" fmla="*/ 3863320 w 6514594"/>
              <a:gd name="connsiteY8" fmla="*/ 422761 h 823180"/>
              <a:gd name="connsiteX9" fmla="*/ 3880054 w 6514594"/>
              <a:gd name="connsiteY9" fmla="*/ 421753 h 823180"/>
              <a:gd name="connsiteX10" fmla="*/ 659546 w 6514594"/>
              <a:gd name="connsiteY10" fmla="*/ 421753 h 823180"/>
              <a:gd name="connsiteX11" fmla="*/ 690796 w 6514594"/>
              <a:gd name="connsiteY11" fmla="*/ 458414 h 823180"/>
              <a:gd name="connsiteX12" fmla="*/ 690796 w 6514594"/>
              <a:gd name="connsiteY12" fmla="*/ 805825 h 823180"/>
              <a:gd name="connsiteX13" fmla="*/ 533077 w 6514594"/>
              <a:gd name="connsiteY13" fmla="*/ 805825 h 823180"/>
              <a:gd name="connsiteX14" fmla="*/ 533077 w 6514594"/>
              <a:gd name="connsiteY14" fmla="*/ 575965 h 823180"/>
              <a:gd name="connsiteX15" fmla="*/ 533077 w 6514594"/>
              <a:gd name="connsiteY15" fmla="*/ 575858 h 823180"/>
              <a:gd name="connsiteX16" fmla="*/ 539953 w 6514594"/>
              <a:gd name="connsiteY16" fmla="*/ 554352 h 823180"/>
              <a:gd name="connsiteX17" fmla="*/ 623450 w 6514594"/>
              <a:gd name="connsiteY17" fmla="*/ 436914 h 823180"/>
              <a:gd name="connsiteX18" fmla="*/ 642814 w 6514594"/>
              <a:gd name="connsiteY18" fmla="*/ 422761 h 823180"/>
              <a:gd name="connsiteX19" fmla="*/ 659546 w 6514594"/>
              <a:gd name="connsiteY19" fmla="*/ 421753 h 823180"/>
              <a:gd name="connsiteX20" fmla="*/ 5741899 w 6514594"/>
              <a:gd name="connsiteY20" fmla="*/ 266767 h 823180"/>
              <a:gd name="connsiteX21" fmla="*/ 5773146 w 6514594"/>
              <a:gd name="connsiteY21" fmla="*/ 303432 h 823180"/>
              <a:gd name="connsiteX22" fmla="*/ 5773146 w 6514594"/>
              <a:gd name="connsiteY22" fmla="*/ 805938 h 823180"/>
              <a:gd name="connsiteX23" fmla="*/ 5615427 w 6514594"/>
              <a:gd name="connsiteY23" fmla="*/ 805938 h 823180"/>
              <a:gd name="connsiteX24" fmla="*/ 5615427 w 6514594"/>
              <a:gd name="connsiteY24" fmla="*/ 420876 h 823180"/>
              <a:gd name="connsiteX25" fmla="*/ 5622309 w 6514594"/>
              <a:gd name="connsiteY25" fmla="*/ 399370 h 823180"/>
              <a:gd name="connsiteX26" fmla="*/ 5705806 w 6514594"/>
              <a:gd name="connsiteY26" fmla="*/ 281931 h 823180"/>
              <a:gd name="connsiteX27" fmla="*/ 5725169 w 6514594"/>
              <a:gd name="connsiteY27" fmla="*/ 267776 h 823180"/>
              <a:gd name="connsiteX28" fmla="*/ 5741899 w 6514594"/>
              <a:gd name="connsiteY28" fmla="*/ 266767 h 823180"/>
              <a:gd name="connsiteX29" fmla="*/ 4401173 w 6514594"/>
              <a:gd name="connsiteY29" fmla="*/ 136105 h 823180"/>
              <a:gd name="connsiteX30" fmla="*/ 4164301 w 6514594"/>
              <a:gd name="connsiteY30" fmla="*/ 338244 h 823180"/>
              <a:gd name="connsiteX31" fmla="*/ 4620645 w 6514594"/>
              <a:gd name="connsiteY31" fmla="*/ 338244 h 823180"/>
              <a:gd name="connsiteX32" fmla="*/ 4401173 w 6514594"/>
              <a:gd name="connsiteY32" fmla="*/ 136105 h 823180"/>
              <a:gd name="connsiteX33" fmla="*/ 2734586 w 6514594"/>
              <a:gd name="connsiteY33" fmla="*/ 123766 h 823180"/>
              <a:gd name="connsiteX34" fmla="*/ 2496430 w 6514594"/>
              <a:gd name="connsiteY34" fmla="*/ 410821 h 823180"/>
              <a:gd name="connsiteX35" fmla="*/ 2734586 w 6514594"/>
              <a:gd name="connsiteY35" fmla="*/ 699403 h 823180"/>
              <a:gd name="connsiteX36" fmla="*/ 2971108 w 6514594"/>
              <a:gd name="connsiteY36" fmla="*/ 410821 h 823180"/>
              <a:gd name="connsiteX37" fmla="*/ 2734586 w 6514594"/>
              <a:gd name="connsiteY37" fmla="*/ 123766 h 823180"/>
              <a:gd name="connsiteX38" fmla="*/ 1178468 w 6514594"/>
              <a:gd name="connsiteY38" fmla="*/ 123766 h 823180"/>
              <a:gd name="connsiteX39" fmla="*/ 940307 w 6514594"/>
              <a:gd name="connsiteY39" fmla="*/ 410821 h 823180"/>
              <a:gd name="connsiteX40" fmla="*/ 1178468 w 6514594"/>
              <a:gd name="connsiteY40" fmla="*/ 699403 h 823180"/>
              <a:gd name="connsiteX41" fmla="*/ 1414990 w 6514594"/>
              <a:gd name="connsiteY41" fmla="*/ 410821 h 823180"/>
              <a:gd name="connsiteX42" fmla="*/ 1178468 w 6514594"/>
              <a:gd name="connsiteY42" fmla="*/ 123766 h 823180"/>
              <a:gd name="connsiteX43" fmla="*/ 2185691 w 6514594"/>
              <a:gd name="connsiteY43" fmla="*/ 17462 h 823180"/>
              <a:gd name="connsiteX44" fmla="*/ 2353179 w 6514594"/>
              <a:gd name="connsiteY44" fmla="*/ 17462 h 823180"/>
              <a:gd name="connsiteX45" fmla="*/ 2335657 w 6514594"/>
              <a:gd name="connsiteY45" fmla="*/ 62216 h 823180"/>
              <a:gd name="connsiteX46" fmla="*/ 2043467 w 6514594"/>
              <a:gd name="connsiteY46" fmla="*/ 805830 h 823180"/>
              <a:gd name="connsiteX47" fmla="*/ 1867958 w 6514594"/>
              <a:gd name="connsiteY47" fmla="*/ 805830 h 823180"/>
              <a:gd name="connsiteX48" fmla="*/ 1760558 w 6514594"/>
              <a:gd name="connsiteY48" fmla="*/ 532528 h 823180"/>
              <a:gd name="connsiteX49" fmla="*/ 1764816 w 6514594"/>
              <a:gd name="connsiteY49" fmla="*/ 497489 h 823180"/>
              <a:gd name="connsiteX50" fmla="*/ 1812618 w 6514594"/>
              <a:gd name="connsiteY50" fmla="*/ 430257 h 823180"/>
              <a:gd name="connsiteX51" fmla="*/ 1878001 w 6514594"/>
              <a:gd name="connsiteY51" fmla="*/ 439859 h 823180"/>
              <a:gd name="connsiteX52" fmla="*/ 1922314 w 6514594"/>
              <a:gd name="connsiteY52" fmla="*/ 622573 h 823180"/>
              <a:gd name="connsiteX53" fmla="*/ 1954401 w 6514594"/>
              <a:gd name="connsiteY53" fmla="*/ 653133 h 823180"/>
              <a:gd name="connsiteX54" fmla="*/ 1955277 w 6514594"/>
              <a:gd name="connsiteY54" fmla="*/ 653133 h 823180"/>
              <a:gd name="connsiteX55" fmla="*/ 1987256 w 6514594"/>
              <a:gd name="connsiteY55" fmla="*/ 622573 h 823180"/>
              <a:gd name="connsiteX56" fmla="*/ 2048161 w 6514594"/>
              <a:gd name="connsiteY56" fmla="*/ 392928 h 823180"/>
              <a:gd name="connsiteX57" fmla="*/ 5615427 w 6514594"/>
              <a:gd name="connsiteY57" fmla="*/ 17457 h 823180"/>
              <a:gd name="connsiteX58" fmla="*/ 5773146 w 6514594"/>
              <a:gd name="connsiteY58" fmla="*/ 17457 h 823180"/>
              <a:gd name="connsiteX59" fmla="*/ 5773146 w 6514594"/>
              <a:gd name="connsiteY59" fmla="*/ 83491 h 823180"/>
              <a:gd name="connsiteX60" fmla="*/ 5767587 w 6514594"/>
              <a:gd name="connsiteY60" fmla="*/ 100846 h 823180"/>
              <a:gd name="connsiteX61" fmla="*/ 5682790 w 6514594"/>
              <a:gd name="connsiteY61" fmla="*/ 220359 h 823180"/>
              <a:gd name="connsiteX62" fmla="*/ 5615427 w 6514594"/>
              <a:gd name="connsiteY62" fmla="*/ 198859 h 823180"/>
              <a:gd name="connsiteX63" fmla="*/ 2353221 w 6514594"/>
              <a:gd name="connsiteY63" fmla="*/ 17355 h 823180"/>
              <a:gd name="connsiteX64" fmla="*/ 2353221 w 6514594"/>
              <a:gd name="connsiteY64" fmla="*/ 17462 h 823180"/>
              <a:gd name="connsiteX65" fmla="*/ 2353179 w 6514594"/>
              <a:gd name="connsiteY65" fmla="*/ 17462 h 823180"/>
              <a:gd name="connsiteX66" fmla="*/ 1558181 w 6514594"/>
              <a:gd name="connsiteY66" fmla="*/ 17355 h 823180"/>
              <a:gd name="connsiteX67" fmla="*/ 1727357 w 6514594"/>
              <a:gd name="connsiteY67" fmla="*/ 17355 h 823180"/>
              <a:gd name="connsiteX68" fmla="*/ 1824284 w 6514594"/>
              <a:gd name="connsiteY68" fmla="*/ 289017 h 823180"/>
              <a:gd name="connsiteX69" fmla="*/ 1824392 w 6514594"/>
              <a:gd name="connsiteY69" fmla="*/ 289017 h 823180"/>
              <a:gd name="connsiteX70" fmla="*/ 1819698 w 6514594"/>
              <a:gd name="connsiteY70" fmla="*/ 322964 h 823180"/>
              <a:gd name="connsiteX71" fmla="*/ 1768616 w 6514594"/>
              <a:gd name="connsiteY71" fmla="*/ 395004 h 823180"/>
              <a:gd name="connsiteX72" fmla="*/ 1703787 w 6514594"/>
              <a:gd name="connsiteY72" fmla="*/ 387143 h 823180"/>
              <a:gd name="connsiteX73" fmla="*/ 1558181 w 6514594"/>
              <a:gd name="connsiteY73" fmla="*/ 17355 h 823180"/>
              <a:gd name="connsiteX74" fmla="*/ 4402474 w 6514594"/>
              <a:gd name="connsiteY74" fmla="*/ 3495 h 823180"/>
              <a:gd name="connsiteX75" fmla="*/ 4783402 w 6514594"/>
              <a:gd name="connsiteY75" fmla="*/ 425128 h 823180"/>
              <a:gd name="connsiteX76" fmla="*/ 4783402 w 6514594"/>
              <a:gd name="connsiteY76" fmla="*/ 463000 h 823180"/>
              <a:gd name="connsiteX77" fmla="*/ 4162780 w 6514594"/>
              <a:gd name="connsiteY77" fmla="*/ 463000 h 823180"/>
              <a:gd name="connsiteX78" fmla="*/ 4401173 w 6514594"/>
              <a:gd name="connsiteY78" fmla="*/ 690462 h 823180"/>
              <a:gd name="connsiteX79" fmla="*/ 4601344 w 6514594"/>
              <a:gd name="connsiteY79" fmla="*/ 578040 h 823180"/>
              <a:gd name="connsiteX80" fmla="*/ 4636043 w 6514594"/>
              <a:gd name="connsiteY80" fmla="*/ 555120 h 823180"/>
              <a:gd name="connsiteX81" fmla="*/ 4636043 w 6514594"/>
              <a:gd name="connsiteY81" fmla="*/ 555228 h 823180"/>
              <a:gd name="connsiteX82" fmla="*/ 4771826 w 6514594"/>
              <a:gd name="connsiteY82" fmla="*/ 555228 h 823180"/>
              <a:gd name="connsiteX83" fmla="*/ 4405969 w 6514594"/>
              <a:gd name="connsiteY83" fmla="*/ 823180 h 823180"/>
              <a:gd name="connsiteX84" fmla="*/ 4008013 w 6514594"/>
              <a:gd name="connsiteY84" fmla="*/ 409628 h 823180"/>
              <a:gd name="connsiteX85" fmla="*/ 4402474 w 6514594"/>
              <a:gd name="connsiteY85" fmla="*/ 3495 h 823180"/>
              <a:gd name="connsiteX86" fmla="*/ 3613231 w 6514594"/>
              <a:gd name="connsiteY86" fmla="*/ 1527 h 823180"/>
              <a:gd name="connsiteX87" fmla="*/ 3907060 w 6514594"/>
              <a:gd name="connsiteY87" fmla="*/ 231715 h 823180"/>
              <a:gd name="connsiteX88" fmla="*/ 3900715 w 6514594"/>
              <a:gd name="connsiteY88" fmla="*/ 259770 h 823180"/>
              <a:gd name="connsiteX89" fmla="*/ 3820934 w 6514594"/>
              <a:gd name="connsiteY89" fmla="*/ 372299 h 823180"/>
              <a:gd name="connsiteX90" fmla="*/ 3820827 w 6514594"/>
              <a:gd name="connsiteY90" fmla="*/ 372299 h 823180"/>
              <a:gd name="connsiteX91" fmla="*/ 3753487 w 6514594"/>
              <a:gd name="connsiteY91" fmla="*/ 350799 h 823180"/>
              <a:gd name="connsiteX92" fmla="*/ 3753487 w 6514594"/>
              <a:gd name="connsiteY92" fmla="*/ 315325 h 823180"/>
              <a:gd name="connsiteX93" fmla="*/ 3575246 w 6514594"/>
              <a:gd name="connsiteY93" fmla="*/ 140251 h 823180"/>
              <a:gd name="connsiteX94" fmla="*/ 3388715 w 6514594"/>
              <a:gd name="connsiteY94" fmla="*/ 234667 h 823180"/>
              <a:gd name="connsiteX95" fmla="*/ 3378117 w 6514594"/>
              <a:gd name="connsiteY95" fmla="*/ 267625 h 823180"/>
              <a:gd name="connsiteX96" fmla="*/ 3378117 w 6514594"/>
              <a:gd name="connsiteY96" fmla="*/ 805825 h 823180"/>
              <a:gd name="connsiteX97" fmla="*/ 3220398 w 6514594"/>
              <a:gd name="connsiteY97" fmla="*/ 805825 h 823180"/>
              <a:gd name="connsiteX98" fmla="*/ 3220398 w 6514594"/>
              <a:gd name="connsiteY98" fmla="*/ 17355 h 823180"/>
              <a:gd name="connsiteX99" fmla="*/ 3371795 w 6514594"/>
              <a:gd name="connsiteY99" fmla="*/ 17355 h 823180"/>
              <a:gd name="connsiteX100" fmla="*/ 3338289 w 6514594"/>
              <a:gd name="connsiteY100" fmla="*/ 133595 h 823180"/>
              <a:gd name="connsiteX101" fmla="*/ 3364155 w 6514594"/>
              <a:gd name="connsiteY101" fmla="*/ 173321 h 823180"/>
              <a:gd name="connsiteX102" fmla="*/ 3385763 w 6514594"/>
              <a:gd name="connsiteY102" fmla="*/ 160445 h 823180"/>
              <a:gd name="connsiteX103" fmla="*/ 3613231 w 6514594"/>
              <a:gd name="connsiteY103" fmla="*/ 1527 h 823180"/>
              <a:gd name="connsiteX104" fmla="*/ 392713 w 6514594"/>
              <a:gd name="connsiteY104" fmla="*/ 1527 h 823180"/>
              <a:gd name="connsiteX105" fmla="*/ 686538 w 6514594"/>
              <a:gd name="connsiteY105" fmla="*/ 231715 h 823180"/>
              <a:gd name="connsiteX106" fmla="*/ 680210 w 6514594"/>
              <a:gd name="connsiteY106" fmla="*/ 259770 h 823180"/>
              <a:gd name="connsiteX107" fmla="*/ 600423 w 6514594"/>
              <a:gd name="connsiteY107" fmla="*/ 372299 h 823180"/>
              <a:gd name="connsiteX108" fmla="*/ 533077 w 6514594"/>
              <a:gd name="connsiteY108" fmla="*/ 350799 h 823180"/>
              <a:gd name="connsiteX109" fmla="*/ 533077 w 6514594"/>
              <a:gd name="connsiteY109" fmla="*/ 315325 h 823180"/>
              <a:gd name="connsiteX110" fmla="*/ 354842 w 6514594"/>
              <a:gd name="connsiteY110" fmla="*/ 140251 h 823180"/>
              <a:gd name="connsiteX111" fmla="*/ 168305 w 6514594"/>
              <a:gd name="connsiteY111" fmla="*/ 234667 h 823180"/>
              <a:gd name="connsiteX112" fmla="*/ 157719 w 6514594"/>
              <a:gd name="connsiteY112" fmla="*/ 267625 h 823180"/>
              <a:gd name="connsiteX113" fmla="*/ 157719 w 6514594"/>
              <a:gd name="connsiteY113" fmla="*/ 805825 h 823180"/>
              <a:gd name="connsiteX114" fmla="*/ 0 w 6514594"/>
              <a:gd name="connsiteY114" fmla="*/ 805825 h 823180"/>
              <a:gd name="connsiteX115" fmla="*/ 0 w 6514594"/>
              <a:gd name="connsiteY115" fmla="*/ 17355 h 823180"/>
              <a:gd name="connsiteX116" fmla="*/ 151277 w 6514594"/>
              <a:gd name="connsiteY116" fmla="*/ 17355 h 823180"/>
              <a:gd name="connsiteX117" fmla="*/ 117771 w 6514594"/>
              <a:gd name="connsiteY117" fmla="*/ 133595 h 823180"/>
              <a:gd name="connsiteX118" fmla="*/ 143638 w 6514594"/>
              <a:gd name="connsiteY118" fmla="*/ 173321 h 823180"/>
              <a:gd name="connsiteX119" fmla="*/ 165251 w 6514594"/>
              <a:gd name="connsiteY119" fmla="*/ 160445 h 823180"/>
              <a:gd name="connsiteX120" fmla="*/ 392713 w 6514594"/>
              <a:gd name="connsiteY120" fmla="*/ 1527 h 823180"/>
              <a:gd name="connsiteX121" fmla="*/ 2734479 w 6514594"/>
              <a:gd name="connsiteY121" fmla="*/ 758 h 823180"/>
              <a:gd name="connsiteX122" fmla="*/ 3124025 w 6514594"/>
              <a:gd name="connsiteY122" fmla="*/ 410821 h 823180"/>
              <a:gd name="connsiteX123" fmla="*/ 2734479 w 6514594"/>
              <a:gd name="connsiteY123" fmla="*/ 822411 h 823180"/>
              <a:gd name="connsiteX124" fmla="*/ 2343405 w 6514594"/>
              <a:gd name="connsiteY124" fmla="*/ 410821 h 823180"/>
              <a:gd name="connsiteX125" fmla="*/ 2734479 w 6514594"/>
              <a:gd name="connsiteY125" fmla="*/ 758 h 823180"/>
              <a:gd name="connsiteX126" fmla="*/ 1178355 w 6514594"/>
              <a:gd name="connsiteY126" fmla="*/ 758 h 823180"/>
              <a:gd name="connsiteX127" fmla="*/ 1567908 w 6514594"/>
              <a:gd name="connsiteY127" fmla="*/ 410821 h 823180"/>
              <a:gd name="connsiteX128" fmla="*/ 1178355 w 6514594"/>
              <a:gd name="connsiteY128" fmla="*/ 822411 h 823180"/>
              <a:gd name="connsiteX129" fmla="*/ 787282 w 6514594"/>
              <a:gd name="connsiteY129" fmla="*/ 410821 h 823180"/>
              <a:gd name="connsiteX130" fmla="*/ 1178355 w 6514594"/>
              <a:gd name="connsiteY130" fmla="*/ 758 h 823180"/>
              <a:gd name="connsiteX131" fmla="*/ 6183435 w 6514594"/>
              <a:gd name="connsiteY131" fmla="*/ 0 h 823180"/>
              <a:gd name="connsiteX132" fmla="*/ 6492550 w 6514594"/>
              <a:gd name="connsiteY132" fmla="*/ 257038 h 823180"/>
              <a:gd name="connsiteX133" fmla="*/ 6371052 w 6514594"/>
              <a:gd name="connsiteY133" fmla="*/ 257038 h 823180"/>
              <a:gd name="connsiteX134" fmla="*/ 6334832 w 6514594"/>
              <a:gd name="connsiteY134" fmla="*/ 227790 h 823180"/>
              <a:gd name="connsiteX135" fmla="*/ 6183435 w 6514594"/>
              <a:gd name="connsiteY135" fmla="*/ 124535 h 823180"/>
              <a:gd name="connsiteX136" fmla="*/ 6039894 w 6514594"/>
              <a:gd name="connsiteY136" fmla="*/ 219166 h 823180"/>
              <a:gd name="connsiteX137" fmla="*/ 6191296 w 6514594"/>
              <a:gd name="connsiteY137" fmla="*/ 339008 h 823180"/>
              <a:gd name="connsiteX138" fmla="*/ 6514594 w 6514594"/>
              <a:gd name="connsiteY138" fmla="*/ 596046 h 823180"/>
              <a:gd name="connsiteX139" fmla="*/ 6197635 w 6514594"/>
              <a:gd name="connsiteY139" fmla="*/ 823180 h 823180"/>
              <a:gd name="connsiteX140" fmla="*/ 5856965 w 6514594"/>
              <a:gd name="connsiteY140" fmla="*/ 555115 h 823180"/>
              <a:gd name="connsiteX141" fmla="*/ 5857072 w 6514594"/>
              <a:gd name="connsiteY141" fmla="*/ 555115 h 823180"/>
              <a:gd name="connsiteX142" fmla="*/ 5984672 w 6514594"/>
              <a:gd name="connsiteY142" fmla="*/ 555115 h 823180"/>
              <a:gd name="connsiteX143" fmla="*/ 6019722 w 6514594"/>
              <a:gd name="connsiteY143" fmla="*/ 580116 h 823180"/>
              <a:gd name="connsiteX144" fmla="*/ 6194570 w 6514594"/>
              <a:gd name="connsiteY144" fmla="*/ 698538 h 823180"/>
              <a:gd name="connsiteX145" fmla="*/ 6355461 w 6514594"/>
              <a:gd name="connsiteY145" fmla="*/ 596046 h 823180"/>
              <a:gd name="connsiteX146" fmla="*/ 6142499 w 6514594"/>
              <a:gd name="connsiteY146" fmla="*/ 471511 h 823180"/>
              <a:gd name="connsiteX147" fmla="*/ 5883826 w 6514594"/>
              <a:gd name="connsiteY147" fmla="*/ 219166 h 823180"/>
              <a:gd name="connsiteX148" fmla="*/ 6183435 w 6514594"/>
              <a:gd name="connsiteY148" fmla="*/ 0 h 823180"/>
              <a:gd name="connsiteX149" fmla="*/ 5176541 w 6514594"/>
              <a:gd name="connsiteY149" fmla="*/ 0 h 823180"/>
              <a:gd name="connsiteX150" fmla="*/ 5485656 w 6514594"/>
              <a:gd name="connsiteY150" fmla="*/ 257038 h 823180"/>
              <a:gd name="connsiteX151" fmla="*/ 5364181 w 6514594"/>
              <a:gd name="connsiteY151" fmla="*/ 257038 h 823180"/>
              <a:gd name="connsiteX152" fmla="*/ 5327937 w 6514594"/>
              <a:gd name="connsiteY152" fmla="*/ 227790 h 823180"/>
              <a:gd name="connsiteX153" fmla="*/ 5176541 w 6514594"/>
              <a:gd name="connsiteY153" fmla="*/ 124535 h 823180"/>
              <a:gd name="connsiteX154" fmla="*/ 5033022 w 6514594"/>
              <a:gd name="connsiteY154" fmla="*/ 219166 h 823180"/>
              <a:gd name="connsiteX155" fmla="*/ 5184401 w 6514594"/>
              <a:gd name="connsiteY155" fmla="*/ 339008 h 823180"/>
              <a:gd name="connsiteX156" fmla="*/ 5507700 w 6514594"/>
              <a:gd name="connsiteY156" fmla="*/ 596046 h 823180"/>
              <a:gd name="connsiteX157" fmla="*/ 5190741 w 6514594"/>
              <a:gd name="connsiteY157" fmla="*/ 823180 h 823180"/>
              <a:gd name="connsiteX158" fmla="*/ 4850093 w 6514594"/>
              <a:gd name="connsiteY158" fmla="*/ 555115 h 823180"/>
              <a:gd name="connsiteX159" fmla="*/ 4850200 w 6514594"/>
              <a:gd name="connsiteY159" fmla="*/ 555115 h 823180"/>
              <a:gd name="connsiteX160" fmla="*/ 4977801 w 6514594"/>
              <a:gd name="connsiteY160" fmla="*/ 555115 h 823180"/>
              <a:gd name="connsiteX161" fmla="*/ 5012828 w 6514594"/>
              <a:gd name="connsiteY161" fmla="*/ 580116 h 823180"/>
              <a:gd name="connsiteX162" fmla="*/ 5187681 w 6514594"/>
              <a:gd name="connsiteY162" fmla="*/ 698538 h 823180"/>
              <a:gd name="connsiteX163" fmla="*/ 5348567 w 6514594"/>
              <a:gd name="connsiteY163" fmla="*/ 596046 h 823180"/>
              <a:gd name="connsiteX164" fmla="*/ 5135627 w 6514594"/>
              <a:gd name="connsiteY164" fmla="*/ 471511 h 823180"/>
              <a:gd name="connsiteX165" fmla="*/ 4876932 w 6514594"/>
              <a:gd name="connsiteY165" fmla="*/ 219166 h 823180"/>
              <a:gd name="connsiteX166" fmla="*/ 5176541 w 6514594"/>
              <a:gd name="connsiteY166" fmla="*/ 0 h 82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6514594" h="823180">
                <a:moveTo>
                  <a:pt x="3880054" y="421753"/>
                </a:moveTo>
                <a:cubicBezTo>
                  <a:pt x="3896630" y="424507"/>
                  <a:pt x="3911313" y="438094"/>
                  <a:pt x="3911313" y="458414"/>
                </a:cubicBezTo>
                <a:lnTo>
                  <a:pt x="3911313" y="805825"/>
                </a:lnTo>
                <a:lnTo>
                  <a:pt x="3753594" y="805825"/>
                </a:lnTo>
                <a:lnTo>
                  <a:pt x="3753594" y="575965"/>
                </a:lnTo>
                <a:lnTo>
                  <a:pt x="3753594" y="575858"/>
                </a:lnTo>
                <a:cubicBezTo>
                  <a:pt x="3753594" y="568105"/>
                  <a:pt x="3755986" y="560685"/>
                  <a:pt x="3760459" y="554352"/>
                </a:cubicBezTo>
                <a:lnTo>
                  <a:pt x="3843956" y="436914"/>
                </a:lnTo>
                <a:cubicBezTo>
                  <a:pt x="3849194" y="429546"/>
                  <a:pt x="3856023" y="424949"/>
                  <a:pt x="3863320" y="422761"/>
                </a:cubicBezTo>
                <a:cubicBezTo>
                  <a:pt x="3868793" y="421120"/>
                  <a:pt x="3874528" y="420835"/>
                  <a:pt x="3880054" y="421753"/>
                </a:cubicBezTo>
                <a:close/>
                <a:moveTo>
                  <a:pt x="659546" y="421753"/>
                </a:moveTo>
                <a:cubicBezTo>
                  <a:pt x="676118" y="424507"/>
                  <a:pt x="690796" y="438094"/>
                  <a:pt x="690796" y="458414"/>
                </a:cubicBezTo>
                <a:lnTo>
                  <a:pt x="690796" y="805825"/>
                </a:lnTo>
                <a:lnTo>
                  <a:pt x="533077" y="805825"/>
                </a:lnTo>
                <a:lnTo>
                  <a:pt x="533077" y="575965"/>
                </a:lnTo>
                <a:lnTo>
                  <a:pt x="533077" y="575858"/>
                </a:lnTo>
                <a:cubicBezTo>
                  <a:pt x="533077" y="568105"/>
                  <a:pt x="535480" y="560685"/>
                  <a:pt x="539953" y="554352"/>
                </a:cubicBezTo>
                <a:lnTo>
                  <a:pt x="623450" y="436914"/>
                </a:lnTo>
                <a:cubicBezTo>
                  <a:pt x="628689" y="429546"/>
                  <a:pt x="635518" y="424949"/>
                  <a:pt x="642814" y="422761"/>
                </a:cubicBezTo>
                <a:cubicBezTo>
                  <a:pt x="648286" y="421120"/>
                  <a:pt x="654021" y="420835"/>
                  <a:pt x="659546" y="421753"/>
                </a:cubicBezTo>
                <a:close/>
                <a:moveTo>
                  <a:pt x="5741899" y="266767"/>
                </a:moveTo>
                <a:cubicBezTo>
                  <a:pt x="5758470" y="269521"/>
                  <a:pt x="5773146" y="283109"/>
                  <a:pt x="5773146" y="303432"/>
                </a:cubicBezTo>
                <a:lnTo>
                  <a:pt x="5773146" y="805938"/>
                </a:lnTo>
                <a:lnTo>
                  <a:pt x="5615427" y="805938"/>
                </a:lnTo>
                <a:lnTo>
                  <a:pt x="5615427" y="420876"/>
                </a:lnTo>
                <a:cubicBezTo>
                  <a:pt x="5615427" y="413123"/>
                  <a:pt x="5617836" y="405703"/>
                  <a:pt x="5622309" y="399370"/>
                </a:cubicBezTo>
                <a:lnTo>
                  <a:pt x="5705806" y="281931"/>
                </a:lnTo>
                <a:cubicBezTo>
                  <a:pt x="5711045" y="274563"/>
                  <a:pt x="5717874" y="269964"/>
                  <a:pt x="5725169" y="267776"/>
                </a:cubicBezTo>
                <a:cubicBezTo>
                  <a:pt x="5730641" y="266134"/>
                  <a:pt x="5736375" y="265849"/>
                  <a:pt x="5741899" y="266767"/>
                </a:cubicBezTo>
                <a:close/>
                <a:moveTo>
                  <a:pt x="4401173" y="136105"/>
                </a:moveTo>
                <a:cubicBezTo>
                  <a:pt x="4266906" y="136105"/>
                  <a:pt x="4176849" y="234011"/>
                  <a:pt x="4164301" y="338244"/>
                </a:cubicBezTo>
                <a:lnTo>
                  <a:pt x="4620645" y="338244"/>
                </a:lnTo>
                <a:cubicBezTo>
                  <a:pt x="4608096" y="246672"/>
                  <a:pt x="4536933" y="136105"/>
                  <a:pt x="4401173" y="136105"/>
                </a:cubicBezTo>
                <a:close/>
                <a:moveTo>
                  <a:pt x="2734586" y="123766"/>
                </a:moveTo>
                <a:cubicBezTo>
                  <a:pt x="2581685" y="123766"/>
                  <a:pt x="2496430" y="249941"/>
                  <a:pt x="2496430" y="410821"/>
                </a:cubicBezTo>
                <a:cubicBezTo>
                  <a:pt x="2496430" y="571701"/>
                  <a:pt x="2578406" y="699403"/>
                  <a:pt x="2734586" y="699403"/>
                </a:cubicBezTo>
                <a:cubicBezTo>
                  <a:pt x="2890784" y="699403"/>
                  <a:pt x="2971108" y="571701"/>
                  <a:pt x="2971108" y="410821"/>
                </a:cubicBezTo>
                <a:cubicBezTo>
                  <a:pt x="2971108" y="249941"/>
                  <a:pt x="2887504" y="123766"/>
                  <a:pt x="2734586" y="123766"/>
                </a:cubicBezTo>
                <a:close/>
                <a:moveTo>
                  <a:pt x="1178468" y="123766"/>
                </a:moveTo>
                <a:cubicBezTo>
                  <a:pt x="1025551" y="123766"/>
                  <a:pt x="940307" y="249941"/>
                  <a:pt x="940307" y="410821"/>
                </a:cubicBezTo>
                <a:cubicBezTo>
                  <a:pt x="940307" y="571701"/>
                  <a:pt x="1022276" y="699403"/>
                  <a:pt x="1178468" y="699403"/>
                </a:cubicBezTo>
                <a:cubicBezTo>
                  <a:pt x="1334660" y="699403"/>
                  <a:pt x="1414990" y="571701"/>
                  <a:pt x="1414990" y="410821"/>
                </a:cubicBezTo>
                <a:cubicBezTo>
                  <a:pt x="1414990" y="249941"/>
                  <a:pt x="1331380" y="123766"/>
                  <a:pt x="1178468" y="123766"/>
                </a:cubicBezTo>
                <a:close/>
                <a:moveTo>
                  <a:pt x="2185691" y="17462"/>
                </a:moveTo>
                <a:lnTo>
                  <a:pt x="2353179" y="17462"/>
                </a:lnTo>
                <a:lnTo>
                  <a:pt x="2335657" y="62216"/>
                </a:lnTo>
                <a:lnTo>
                  <a:pt x="2043467" y="805830"/>
                </a:lnTo>
                <a:lnTo>
                  <a:pt x="1867958" y="805830"/>
                </a:lnTo>
                <a:lnTo>
                  <a:pt x="1760558" y="532528"/>
                </a:lnTo>
                <a:cubicBezTo>
                  <a:pt x="1755971" y="520850"/>
                  <a:pt x="1757611" y="507640"/>
                  <a:pt x="1764816" y="497489"/>
                </a:cubicBezTo>
                <a:lnTo>
                  <a:pt x="1812618" y="430257"/>
                </a:lnTo>
                <a:cubicBezTo>
                  <a:pt x="1830194" y="405590"/>
                  <a:pt x="1868286" y="411047"/>
                  <a:pt x="1878001" y="439859"/>
                </a:cubicBezTo>
                <a:cubicBezTo>
                  <a:pt x="1896448" y="494651"/>
                  <a:pt x="1919255" y="570943"/>
                  <a:pt x="1922314" y="622573"/>
                </a:cubicBezTo>
                <a:cubicBezTo>
                  <a:pt x="1923298" y="639708"/>
                  <a:pt x="1937158" y="653133"/>
                  <a:pt x="1954401" y="653133"/>
                </a:cubicBezTo>
                <a:lnTo>
                  <a:pt x="1955277" y="653133"/>
                </a:lnTo>
                <a:cubicBezTo>
                  <a:pt x="1972412" y="653133"/>
                  <a:pt x="1986272" y="639600"/>
                  <a:pt x="1987256" y="622573"/>
                </a:cubicBezTo>
                <a:cubicBezTo>
                  <a:pt x="1992385" y="533834"/>
                  <a:pt x="2019671" y="471075"/>
                  <a:pt x="2048161" y="392928"/>
                </a:cubicBezTo>
                <a:close/>
                <a:moveTo>
                  <a:pt x="5615427" y="17457"/>
                </a:moveTo>
                <a:lnTo>
                  <a:pt x="5773146" y="17457"/>
                </a:lnTo>
                <a:lnTo>
                  <a:pt x="5773146" y="83491"/>
                </a:lnTo>
                <a:cubicBezTo>
                  <a:pt x="5773146" y="89711"/>
                  <a:pt x="5771189" y="95824"/>
                  <a:pt x="5767587" y="100846"/>
                </a:cubicBezTo>
                <a:lnTo>
                  <a:pt x="5682790" y="220359"/>
                </a:lnTo>
                <a:cubicBezTo>
                  <a:pt x="5661940" y="249828"/>
                  <a:pt x="5615427" y="234983"/>
                  <a:pt x="5615427" y="198859"/>
                </a:cubicBezTo>
                <a:close/>
                <a:moveTo>
                  <a:pt x="2353221" y="17355"/>
                </a:moveTo>
                <a:lnTo>
                  <a:pt x="2353221" y="17462"/>
                </a:lnTo>
                <a:lnTo>
                  <a:pt x="2353179" y="17462"/>
                </a:lnTo>
                <a:close/>
                <a:moveTo>
                  <a:pt x="1558181" y="17355"/>
                </a:moveTo>
                <a:lnTo>
                  <a:pt x="1727357" y="17355"/>
                </a:lnTo>
                <a:lnTo>
                  <a:pt x="1824284" y="289017"/>
                </a:lnTo>
                <a:lnTo>
                  <a:pt x="1824392" y="289017"/>
                </a:lnTo>
                <a:cubicBezTo>
                  <a:pt x="1828429" y="300373"/>
                  <a:pt x="1826682" y="313142"/>
                  <a:pt x="1819698" y="322964"/>
                </a:cubicBezTo>
                <a:lnTo>
                  <a:pt x="1768616" y="395004"/>
                </a:lnTo>
                <a:cubicBezTo>
                  <a:pt x="1751589" y="419015"/>
                  <a:pt x="1714588" y="414536"/>
                  <a:pt x="1703787" y="387143"/>
                </a:cubicBezTo>
                <a:cubicBezTo>
                  <a:pt x="1654232" y="261189"/>
                  <a:pt x="1558181" y="17355"/>
                  <a:pt x="1558181" y="17355"/>
                </a:cubicBezTo>
                <a:close/>
                <a:moveTo>
                  <a:pt x="4402474" y="3495"/>
                </a:moveTo>
                <a:cubicBezTo>
                  <a:pt x="4661146" y="2296"/>
                  <a:pt x="4783402" y="230408"/>
                  <a:pt x="4783402" y="425128"/>
                </a:cubicBezTo>
                <a:lnTo>
                  <a:pt x="4783402" y="463000"/>
                </a:lnTo>
                <a:lnTo>
                  <a:pt x="4162780" y="463000"/>
                </a:lnTo>
                <a:cubicBezTo>
                  <a:pt x="4162780" y="530889"/>
                  <a:pt x="4217894" y="690462"/>
                  <a:pt x="4401173" y="690462"/>
                </a:cubicBezTo>
                <a:cubicBezTo>
                  <a:pt x="4519256" y="690462"/>
                  <a:pt x="4575026" y="644509"/>
                  <a:pt x="4601344" y="578040"/>
                </a:cubicBezTo>
                <a:cubicBezTo>
                  <a:pt x="4606903" y="563959"/>
                  <a:pt x="4620973" y="555120"/>
                  <a:pt x="4636043" y="555120"/>
                </a:cubicBezTo>
                <a:lnTo>
                  <a:pt x="4636043" y="555228"/>
                </a:lnTo>
                <a:lnTo>
                  <a:pt x="4771826" y="555228"/>
                </a:lnTo>
                <a:cubicBezTo>
                  <a:pt x="4746723" y="694607"/>
                  <a:pt x="4615742" y="823180"/>
                  <a:pt x="4405969" y="823180"/>
                </a:cubicBezTo>
                <a:cubicBezTo>
                  <a:pt x="4168011" y="823180"/>
                  <a:pt x="4008776" y="667542"/>
                  <a:pt x="4008013" y="409628"/>
                </a:cubicBezTo>
                <a:cubicBezTo>
                  <a:pt x="4007363" y="189370"/>
                  <a:pt x="4182216" y="4479"/>
                  <a:pt x="4402474" y="3495"/>
                </a:cubicBezTo>
                <a:close/>
                <a:moveTo>
                  <a:pt x="3613231" y="1527"/>
                </a:moveTo>
                <a:cubicBezTo>
                  <a:pt x="3740045" y="1527"/>
                  <a:pt x="3881064" y="72362"/>
                  <a:pt x="3907060" y="231715"/>
                </a:cubicBezTo>
                <a:cubicBezTo>
                  <a:pt x="3908576" y="241538"/>
                  <a:pt x="3906518" y="251689"/>
                  <a:pt x="3900715" y="259770"/>
                </a:cubicBezTo>
                <a:lnTo>
                  <a:pt x="3820934" y="372299"/>
                </a:lnTo>
                <a:lnTo>
                  <a:pt x="3820827" y="372299"/>
                </a:lnTo>
                <a:cubicBezTo>
                  <a:pt x="3799982" y="401768"/>
                  <a:pt x="3753487" y="386923"/>
                  <a:pt x="3753487" y="350799"/>
                </a:cubicBezTo>
                <a:lnTo>
                  <a:pt x="3753487" y="315325"/>
                </a:lnTo>
                <a:cubicBezTo>
                  <a:pt x="3753487" y="197118"/>
                  <a:pt x="3685694" y="140251"/>
                  <a:pt x="3575246" y="140251"/>
                </a:cubicBezTo>
                <a:cubicBezTo>
                  <a:pt x="3496008" y="140251"/>
                  <a:pt x="3428537" y="179762"/>
                  <a:pt x="3388715" y="234667"/>
                </a:cubicBezTo>
                <a:cubicBezTo>
                  <a:pt x="3381719" y="244269"/>
                  <a:pt x="3378117" y="255839"/>
                  <a:pt x="3378117" y="267625"/>
                </a:cubicBezTo>
                <a:lnTo>
                  <a:pt x="3378117" y="805825"/>
                </a:lnTo>
                <a:lnTo>
                  <a:pt x="3220398" y="805825"/>
                </a:lnTo>
                <a:lnTo>
                  <a:pt x="3220398" y="17355"/>
                </a:lnTo>
                <a:lnTo>
                  <a:pt x="3371795" y="17355"/>
                </a:lnTo>
                <a:cubicBezTo>
                  <a:pt x="3371795" y="59044"/>
                  <a:pt x="3355859" y="100739"/>
                  <a:pt x="3338289" y="133595"/>
                </a:cubicBezTo>
                <a:cubicBezTo>
                  <a:pt x="3328234" y="152041"/>
                  <a:pt x="3342654" y="174633"/>
                  <a:pt x="3364155" y="173321"/>
                </a:cubicBezTo>
                <a:cubicBezTo>
                  <a:pt x="3372994" y="172778"/>
                  <a:pt x="3380747" y="167649"/>
                  <a:pt x="3385763" y="160445"/>
                </a:cubicBezTo>
                <a:cubicBezTo>
                  <a:pt x="3424828" y="103798"/>
                  <a:pt x="3486388" y="1527"/>
                  <a:pt x="3613231" y="1527"/>
                </a:cubicBezTo>
                <a:close/>
                <a:moveTo>
                  <a:pt x="392713" y="1527"/>
                </a:moveTo>
                <a:cubicBezTo>
                  <a:pt x="519544" y="1527"/>
                  <a:pt x="660564" y="72362"/>
                  <a:pt x="686538" y="231715"/>
                </a:cubicBezTo>
                <a:cubicBezTo>
                  <a:pt x="688064" y="241538"/>
                  <a:pt x="685995" y="251689"/>
                  <a:pt x="680210" y="259770"/>
                </a:cubicBezTo>
                <a:lnTo>
                  <a:pt x="600423" y="372299"/>
                </a:lnTo>
                <a:cubicBezTo>
                  <a:pt x="579573" y="401768"/>
                  <a:pt x="533077" y="386923"/>
                  <a:pt x="533077" y="350799"/>
                </a:cubicBezTo>
                <a:lnTo>
                  <a:pt x="533077" y="315325"/>
                </a:lnTo>
                <a:cubicBezTo>
                  <a:pt x="533077" y="197118"/>
                  <a:pt x="465296" y="140251"/>
                  <a:pt x="354842" y="140251"/>
                </a:cubicBezTo>
                <a:cubicBezTo>
                  <a:pt x="275598" y="140251"/>
                  <a:pt x="208144" y="179762"/>
                  <a:pt x="168305" y="234667"/>
                </a:cubicBezTo>
                <a:cubicBezTo>
                  <a:pt x="161321" y="244269"/>
                  <a:pt x="157719" y="255839"/>
                  <a:pt x="157719" y="267625"/>
                </a:cubicBezTo>
                <a:lnTo>
                  <a:pt x="157719" y="805825"/>
                </a:lnTo>
                <a:lnTo>
                  <a:pt x="0" y="805825"/>
                </a:lnTo>
                <a:lnTo>
                  <a:pt x="0" y="17355"/>
                </a:lnTo>
                <a:lnTo>
                  <a:pt x="151277" y="17355"/>
                </a:lnTo>
                <a:cubicBezTo>
                  <a:pt x="151277" y="59044"/>
                  <a:pt x="135342" y="100739"/>
                  <a:pt x="117771" y="133595"/>
                </a:cubicBezTo>
                <a:cubicBezTo>
                  <a:pt x="107728" y="152041"/>
                  <a:pt x="122137" y="174633"/>
                  <a:pt x="143638" y="173321"/>
                </a:cubicBezTo>
                <a:cubicBezTo>
                  <a:pt x="152476" y="172778"/>
                  <a:pt x="160229" y="167649"/>
                  <a:pt x="165251" y="160445"/>
                </a:cubicBezTo>
                <a:cubicBezTo>
                  <a:pt x="204322" y="103798"/>
                  <a:pt x="265882" y="1527"/>
                  <a:pt x="392713" y="1527"/>
                </a:cubicBezTo>
                <a:close/>
                <a:moveTo>
                  <a:pt x="2734479" y="758"/>
                </a:moveTo>
                <a:cubicBezTo>
                  <a:pt x="2980512" y="758"/>
                  <a:pt x="3124025" y="158477"/>
                  <a:pt x="3124025" y="410821"/>
                </a:cubicBezTo>
                <a:cubicBezTo>
                  <a:pt x="3124025" y="663165"/>
                  <a:pt x="2978968" y="822411"/>
                  <a:pt x="2734479" y="822411"/>
                </a:cubicBezTo>
                <a:cubicBezTo>
                  <a:pt x="2490006" y="822411"/>
                  <a:pt x="2343405" y="664698"/>
                  <a:pt x="2343405" y="410821"/>
                </a:cubicBezTo>
                <a:cubicBezTo>
                  <a:pt x="2343405" y="158477"/>
                  <a:pt x="2488462" y="758"/>
                  <a:pt x="2734479" y="758"/>
                </a:cubicBezTo>
                <a:close/>
                <a:moveTo>
                  <a:pt x="1178355" y="758"/>
                </a:moveTo>
                <a:cubicBezTo>
                  <a:pt x="1424377" y="758"/>
                  <a:pt x="1567908" y="158477"/>
                  <a:pt x="1567908" y="410821"/>
                </a:cubicBezTo>
                <a:cubicBezTo>
                  <a:pt x="1567908" y="663165"/>
                  <a:pt x="1422850" y="822411"/>
                  <a:pt x="1178355" y="822411"/>
                </a:cubicBezTo>
                <a:cubicBezTo>
                  <a:pt x="933866" y="822411"/>
                  <a:pt x="787282" y="664698"/>
                  <a:pt x="787282" y="410821"/>
                </a:cubicBezTo>
                <a:cubicBezTo>
                  <a:pt x="787282" y="158477"/>
                  <a:pt x="932339" y="758"/>
                  <a:pt x="1178355" y="758"/>
                </a:cubicBezTo>
                <a:close/>
                <a:moveTo>
                  <a:pt x="6183435" y="0"/>
                </a:moveTo>
                <a:cubicBezTo>
                  <a:pt x="6371052" y="0"/>
                  <a:pt x="6486211" y="113513"/>
                  <a:pt x="6492550" y="257038"/>
                </a:cubicBezTo>
                <a:lnTo>
                  <a:pt x="6371052" y="257038"/>
                </a:lnTo>
                <a:cubicBezTo>
                  <a:pt x="6353595" y="257038"/>
                  <a:pt x="6338762" y="244818"/>
                  <a:pt x="6334832" y="227790"/>
                </a:cubicBezTo>
                <a:cubicBezTo>
                  <a:pt x="6318347" y="156735"/>
                  <a:pt x="6270099" y="124535"/>
                  <a:pt x="6183435" y="124535"/>
                </a:cubicBezTo>
                <a:cubicBezTo>
                  <a:pt x="6107692" y="124535"/>
                  <a:pt x="6039894" y="154445"/>
                  <a:pt x="6039894" y="219166"/>
                </a:cubicBezTo>
                <a:cubicBezTo>
                  <a:pt x="6039894" y="297969"/>
                  <a:pt x="6125042" y="324819"/>
                  <a:pt x="6191296" y="339008"/>
                </a:cubicBezTo>
                <a:cubicBezTo>
                  <a:pt x="6336353" y="369025"/>
                  <a:pt x="6514594" y="424144"/>
                  <a:pt x="6514594" y="596046"/>
                </a:cubicBezTo>
                <a:cubicBezTo>
                  <a:pt x="6514594" y="741103"/>
                  <a:pt x="6382085" y="823180"/>
                  <a:pt x="6197635" y="823180"/>
                </a:cubicBezTo>
                <a:cubicBezTo>
                  <a:pt x="6013162" y="823180"/>
                  <a:pt x="5875858" y="723861"/>
                  <a:pt x="5856965" y="555115"/>
                </a:cubicBezTo>
                <a:lnTo>
                  <a:pt x="5857072" y="555115"/>
                </a:lnTo>
                <a:lnTo>
                  <a:pt x="5984672" y="555115"/>
                </a:lnTo>
                <a:cubicBezTo>
                  <a:pt x="6000501" y="555115"/>
                  <a:pt x="6014791" y="565158"/>
                  <a:pt x="6019722" y="580116"/>
                </a:cubicBezTo>
                <a:cubicBezTo>
                  <a:pt x="6045475" y="659461"/>
                  <a:pt x="6112923" y="698538"/>
                  <a:pt x="6194570" y="698538"/>
                </a:cubicBezTo>
                <a:cubicBezTo>
                  <a:pt x="6286040" y="698538"/>
                  <a:pt x="6355461" y="674849"/>
                  <a:pt x="6355461" y="596046"/>
                </a:cubicBezTo>
                <a:cubicBezTo>
                  <a:pt x="6355461" y="517243"/>
                  <a:pt x="6281346" y="501420"/>
                  <a:pt x="6142499" y="471511"/>
                </a:cubicBezTo>
                <a:cubicBezTo>
                  <a:pt x="6017856" y="446301"/>
                  <a:pt x="5883826" y="375353"/>
                  <a:pt x="5883826" y="219166"/>
                </a:cubicBezTo>
                <a:cubicBezTo>
                  <a:pt x="5883826" y="62980"/>
                  <a:pt x="6038373" y="0"/>
                  <a:pt x="6183435" y="0"/>
                </a:cubicBezTo>
                <a:close/>
                <a:moveTo>
                  <a:pt x="5176541" y="0"/>
                </a:moveTo>
                <a:cubicBezTo>
                  <a:pt x="5364181" y="0"/>
                  <a:pt x="5479317" y="113513"/>
                  <a:pt x="5485656" y="257038"/>
                </a:cubicBezTo>
                <a:lnTo>
                  <a:pt x="5364181" y="257038"/>
                </a:lnTo>
                <a:cubicBezTo>
                  <a:pt x="5346724" y="257038"/>
                  <a:pt x="5331868" y="244818"/>
                  <a:pt x="5327937" y="227790"/>
                </a:cubicBezTo>
                <a:cubicBezTo>
                  <a:pt x="5311459" y="156735"/>
                  <a:pt x="5263204" y="124535"/>
                  <a:pt x="5176541" y="124535"/>
                </a:cubicBezTo>
                <a:cubicBezTo>
                  <a:pt x="5100798" y="124535"/>
                  <a:pt x="5033022" y="154445"/>
                  <a:pt x="5033022" y="219166"/>
                </a:cubicBezTo>
                <a:cubicBezTo>
                  <a:pt x="5033022" y="297969"/>
                  <a:pt x="5118147" y="324819"/>
                  <a:pt x="5184401" y="339008"/>
                </a:cubicBezTo>
                <a:cubicBezTo>
                  <a:pt x="5329459" y="369025"/>
                  <a:pt x="5507700" y="424144"/>
                  <a:pt x="5507700" y="596046"/>
                </a:cubicBezTo>
                <a:cubicBezTo>
                  <a:pt x="5507700" y="741103"/>
                  <a:pt x="5375191" y="823180"/>
                  <a:pt x="5190741" y="823180"/>
                </a:cubicBezTo>
                <a:cubicBezTo>
                  <a:pt x="5006268" y="823180"/>
                  <a:pt x="4868964" y="723861"/>
                  <a:pt x="4850093" y="555115"/>
                </a:cubicBezTo>
                <a:lnTo>
                  <a:pt x="4850200" y="555115"/>
                </a:lnTo>
                <a:lnTo>
                  <a:pt x="4977801" y="555115"/>
                </a:lnTo>
                <a:cubicBezTo>
                  <a:pt x="4993612" y="555115"/>
                  <a:pt x="5007919" y="565158"/>
                  <a:pt x="5012828" y="580116"/>
                </a:cubicBezTo>
                <a:cubicBezTo>
                  <a:pt x="5038581" y="659461"/>
                  <a:pt x="5106051" y="698538"/>
                  <a:pt x="5187681" y="698538"/>
                </a:cubicBezTo>
                <a:cubicBezTo>
                  <a:pt x="5279146" y="698538"/>
                  <a:pt x="5348567" y="674849"/>
                  <a:pt x="5348567" y="596046"/>
                </a:cubicBezTo>
                <a:cubicBezTo>
                  <a:pt x="5348567" y="517243"/>
                  <a:pt x="5274452" y="501420"/>
                  <a:pt x="5135627" y="471511"/>
                </a:cubicBezTo>
                <a:cubicBezTo>
                  <a:pt x="5010984" y="446301"/>
                  <a:pt x="4876932" y="375353"/>
                  <a:pt x="4876932" y="219166"/>
                </a:cubicBezTo>
                <a:cubicBezTo>
                  <a:pt x="4876932" y="62980"/>
                  <a:pt x="5031501" y="0"/>
                  <a:pt x="5176541" y="0"/>
                </a:cubicBezTo>
                <a:close/>
              </a:path>
            </a:pathLst>
          </a:custGeom>
          <a:solidFill>
            <a:srgbClr val="EFF1FF"/>
          </a:solidFill>
        </p:spPr>
        <p:txBody>
          <a:bodyPr wrap="square">
            <a:noAutofit/>
          </a:bodyPr>
          <a:lstStyle>
            <a:lvl1pPr marL="0" indent="0">
              <a:buFontTx/>
              <a:buNone/>
              <a:defRPr sz="800">
                <a:noFill/>
              </a:defRPr>
            </a:lvl1pPr>
          </a:lstStyle>
          <a:p>
            <a:pPr lvl="0"/>
            <a:r>
              <a:rPr lang="en-US" dirty="0"/>
              <a:t>10571432</a:t>
            </a:r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BEBFE26D-8E09-9EE6-7A65-8C143BD3B550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3378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  <p15:guide id="2" orient="horz" pos="18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Juniper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 hidden="1">
            <a:extLst>
              <a:ext uri="{FF2B5EF4-FFF2-40B4-BE49-F238E27FC236}">
                <a16:creationId xmlns:a16="http://schemas.microsoft.com/office/drawing/2014/main" id="{FFEC26B7-8913-9BAE-1A65-828C220895B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10" hidden="1">
            <a:extLst>
              <a:ext uri="{FF2B5EF4-FFF2-40B4-BE49-F238E27FC236}">
                <a16:creationId xmlns:a16="http://schemas.microsoft.com/office/drawing/2014/main" id="{6DF6317B-96F1-DF6F-C4E7-90BF4E75A8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7" name="Free-form: Shape 6">
            <a:extLst>
              <a:ext uri="{FF2B5EF4-FFF2-40B4-BE49-F238E27FC236}">
                <a16:creationId xmlns:a16="http://schemas.microsoft.com/office/drawing/2014/main" id="{C9C8CAF8-539E-8C0D-060B-F5A7B8F01CF7}"/>
              </a:ext>
            </a:extLst>
          </p:cNvPr>
          <p:cNvSpPr/>
          <p:nvPr/>
        </p:nvSpPr>
        <p:spPr>
          <a:xfrm>
            <a:off x="-4" y="5"/>
            <a:ext cx="10259877" cy="2774055"/>
          </a:xfrm>
          <a:custGeom>
            <a:avLst/>
            <a:gdLst>
              <a:gd name="connsiteX0" fmla="*/ 10259878 w 10259877"/>
              <a:gd name="connsiteY0" fmla="*/ 2730127 h 2774055"/>
              <a:gd name="connsiteX1" fmla="*/ 9345464 w 10259877"/>
              <a:gd name="connsiteY1" fmla="*/ 1516235 h 2774055"/>
              <a:gd name="connsiteX2" fmla="*/ 10243901 w 10259877"/>
              <a:gd name="connsiteY2" fmla="*/ 733603 h 2774055"/>
              <a:gd name="connsiteX3" fmla="*/ 9832612 w 10259877"/>
              <a:gd name="connsiteY3" fmla="*/ 733603 h 2774055"/>
              <a:gd name="connsiteX4" fmla="*/ 8738519 w 10259877"/>
              <a:gd name="connsiteY4" fmla="*/ 1675963 h 2774055"/>
              <a:gd name="connsiteX5" fmla="*/ 8646673 w 10259877"/>
              <a:gd name="connsiteY5" fmla="*/ 1596093 h 2774055"/>
              <a:gd name="connsiteX6" fmla="*/ 8756490 w 10259877"/>
              <a:gd name="connsiteY6" fmla="*/ 1320579 h 2774055"/>
              <a:gd name="connsiteX7" fmla="*/ 8778448 w 10259877"/>
              <a:gd name="connsiteY7" fmla="*/ 853389 h 2774055"/>
              <a:gd name="connsiteX8" fmla="*/ 8778448 w 10259877"/>
              <a:gd name="connsiteY8" fmla="*/ 0 h 2774055"/>
              <a:gd name="connsiteX9" fmla="*/ 8455004 w 10259877"/>
              <a:gd name="connsiteY9" fmla="*/ 0 h 2774055"/>
              <a:gd name="connsiteX10" fmla="*/ 8455004 w 10259877"/>
              <a:gd name="connsiteY10" fmla="*/ 2730127 h 2774055"/>
              <a:gd name="connsiteX11" fmla="*/ 8778448 w 10259877"/>
              <a:gd name="connsiteY11" fmla="*/ 2730127 h 2774055"/>
              <a:gd name="connsiteX12" fmla="*/ 8778448 w 10259877"/>
              <a:gd name="connsiteY12" fmla="*/ 2019359 h 2774055"/>
              <a:gd name="connsiteX13" fmla="*/ 9109867 w 10259877"/>
              <a:gd name="connsiteY13" fmla="*/ 1727868 h 2774055"/>
              <a:gd name="connsiteX14" fmla="*/ 9884529 w 10259877"/>
              <a:gd name="connsiteY14" fmla="*/ 2730127 h 2774055"/>
              <a:gd name="connsiteX15" fmla="*/ 10259878 w 10259877"/>
              <a:gd name="connsiteY15" fmla="*/ 2730127 h 2774055"/>
              <a:gd name="connsiteX16" fmla="*/ 1946432 w 10259877"/>
              <a:gd name="connsiteY16" fmla="*/ 0 h 2774055"/>
              <a:gd name="connsiteX17" fmla="*/ 0 w 10259877"/>
              <a:gd name="connsiteY17" fmla="*/ 0 h 2774055"/>
              <a:gd name="connsiteX18" fmla="*/ 0 w 10259877"/>
              <a:gd name="connsiteY18" fmla="*/ 246443 h 2774055"/>
              <a:gd name="connsiteX19" fmla="*/ 632714 w 10259877"/>
              <a:gd name="connsiteY19" fmla="*/ 246443 h 2774055"/>
              <a:gd name="connsiteX20" fmla="*/ 632714 w 10259877"/>
              <a:gd name="connsiteY20" fmla="*/ 2730127 h 2774055"/>
              <a:gd name="connsiteX21" fmla="*/ 988098 w 10259877"/>
              <a:gd name="connsiteY21" fmla="*/ 2730127 h 2774055"/>
              <a:gd name="connsiteX22" fmla="*/ 988098 w 10259877"/>
              <a:gd name="connsiteY22" fmla="*/ 246443 h 2774055"/>
              <a:gd name="connsiteX23" fmla="*/ 1946432 w 10259877"/>
              <a:gd name="connsiteY23" fmla="*/ 246443 h 2774055"/>
              <a:gd name="connsiteX24" fmla="*/ 1946432 w 10259877"/>
              <a:gd name="connsiteY24" fmla="*/ 0 h 2774055"/>
              <a:gd name="connsiteX25" fmla="*/ 2513424 w 10259877"/>
              <a:gd name="connsiteY25" fmla="*/ 2730127 h 2774055"/>
              <a:gd name="connsiteX26" fmla="*/ 2513424 w 10259877"/>
              <a:gd name="connsiteY26" fmla="*/ 1324567 h 2774055"/>
              <a:gd name="connsiteX27" fmla="*/ 2743027 w 10259877"/>
              <a:gd name="connsiteY27" fmla="*/ 1084987 h 2774055"/>
              <a:gd name="connsiteX28" fmla="*/ 3064464 w 10259877"/>
              <a:gd name="connsiteY28" fmla="*/ 981164 h 2774055"/>
              <a:gd name="connsiteX29" fmla="*/ 3439813 w 10259877"/>
              <a:gd name="connsiteY29" fmla="*/ 1118934 h 2774055"/>
              <a:gd name="connsiteX30" fmla="*/ 3567587 w 10259877"/>
              <a:gd name="connsiteY30" fmla="*/ 1488283 h 2774055"/>
              <a:gd name="connsiteX31" fmla="*/ 3567587 w 10259877"/>
              <a:gd name="connsiteY31" fmla="*/ 2726139 h 2774055"/>
              <a:gd name="connsiteX32" fmla="*/ 3891031 w 10259877"/>
              <a:gd name="connsiteY32" fmla="*/ 2730127 h 2774055"/>
              <a:gd name="connsiteX33" fmla="*/ 3891031 w 10259877"/>
              <a:gd name="connsiteY33" fmla="*/ 1412413 h 2774055"/>
              <a:gd name="connsiteX34" fmla="*/ 3783220 w 10259877"/>
              <a:gd name="connsiteY34" fmla="*/ 1015111 h 2774055"/>
              <a:gd name="connsiteX35" fmla="*/ 3503706 w 10259877"/>
              <a:gd name="connsiteY35" fmla="*/ 773532 h 2774055"/>
              <a:gd name="connsiteX36" fmla="*/ 3144334 w 10259877"/>
              <a:gd name="connsiteY36" fmla="*/ 693674 h 2774055"/>
              <a:gd name="connsiteX37" fmla="*/ 2760998 w 10259877"/>
              <a:gd name="connsiteY37" fmla="*/ 807466 h 2774055"/>
              <a:gd name="connsiteX38" fmla="*/ 2517411 w 10259877"/>
              <a:gd name="connsiteY38" fmla="*/ 1084987 h 2774055"/>
              <a:gd name="connsiteX39" fmla="*/ 2377661 w 10259877"/>
              <a:gd name="connsiteY39" fmla="*/ 1084987 h 2774055"/>
              <a:gd name="connsiteX40" fmla="*/ 2475489 w 10259877"/>
              <a:gd name="connsiteY40" fmla="*/ 763549 h 2774055"/>
              <a:gd name="connsiteX41" fmla="*/ 2513424 w 10259877"/>
              <a:gd name="connsiteY41" fmla="*/ 354254 h 2774055"/>
              <a:gd name="connsiteX42" fmla="*/ 2513424 w 10259877"/>
              <a:gd name="connsiteY42" fmla="*/ 0 h 2774055"/>
              <a:gd name="connsiteX43" fmla="*/ 2185992 w 10259877"/>
              <a:gd name="connsiteY43" fmla="*/ 0 h 2774055"/>
              <a:gd name="connsiteX44" fmla="*/ 2185992 w 10259877"/>
              <a:gd name="connsiteY44" fmla="*/ 2730127 h 2774055"/>
              <a:gd name="connsiteX45" fmla="*/ 2513424 w 10259877"/>
              <a:gd name="connsiteY45" fmla="*/ 2730127 h 2774055"/>
              <a:gd name="connsiteX46" fmla="*/ 5552115 w 10259877"/>
              <a:gd name="connsiteY46" fmla="*/ 1995406 h 2774055"/>
              <a:gd name="connsiteX47" fmla="*/ 5466263 w 10259877"/>
              <a:gd name="connsiteY47" fmla="*/ 2262945 h 2774055"/>
              <a:gd name="connsiteX48" fmla="*/ 5236659 w 10259877"/>
              <a:gd name="connsiteY48" fmla="*/ 2448618 h 2774055"/>
              <a:gd name="connsiteX49" fmla="*/ 4929192 w 10259877"/>
              <a:gd name="connsiteY49" fmla="*/ 2514506 h 2774055"/>
              <a:gd name="connsiteX50" fmla="*/ 4667649 w 10259877"/>
              <a:gd name="connsiteY50" fmla="*/ 2428654 h 2774055"/>
              <a:gd name="connsiteX51" fmla="*/ 4561832 w 10259877"/>
              <a:gd name="connsiteY51" fmla="*/ 2207039 h 2774055"/>
              <a:gd name="connsiteX52" fmla="*/ 4629714 w 10259877"/>
              <a:gd name="connsiteY52" fmla="*/ 1983418 h 2774055"/>
              <a:gd name="connsiteX53" fmla="*/ 4797430 w 10259877"/>
              <a:gd name="connsiteY53" fmla="*/ 1847654 h 2774055"/>
              <a:gd name="connsiteX54" fmla="*/ 5102890 w 10259877"/>
              <a:gd name="connsiteY54" fmla="*/ 1769791 h 2774055"/>
              <a:gd name="connsiteX55" fmla="*/ 5552115 w 10259877"/>
              <a:gd name="connsiteY55" fmla="*/ 1751833 h 2774055"/>
              <a:gd name="connsiteX56" fmla="*/ 5552115 w 10259877"/>
              <a:gd name="connsiteY56" fmla="*/ 1995406 h 2774055"/>
              <a:gd name="connsiteX57" fmla="*/ 5480233 w 10259877"/>
              <a:gd name="connsiteY57" fmla="*/ 2382731 h 2774055"/>
              <a:gd name="connsiteX58" fmla="*/ 5612008 w 10259877"/>
              <a:gd name="connsiteY58" fmla="*/ 2382731 h 2774055"/>
              <a:gd name="connsiteX59" fmla="*/ 5584055 w 10259877"/>
              <a:gd name="connsiteY59" fmla="*/ 2522494 h 2774055"/>
              <a:gd name="connsiteX60" fmla="*/ 5600032 w 10259877"/>
              <a:gd name="connsiteY60" fmla="*/ 2636286 h 2774055"/>
              <a:gd name="connsiteX61" fmla="*/ 5635973 w 10259877"/>
              <a:gd name="connsiteY61" fmla="*/ 2730127 h 2774055"/>
              <a:gd name="connsiteX62" fmla="*/ 5935452 w 10259877"/>
              <a:gd name="connsiteY62" fmla="*/ 2730127 h 2774055"/>
              <a:gd name="connsiteX63" fmla="*/ 5883534 w 10259877"/>
              <a:gd name="connsiteY63" fmla="*/ 2502517 h 2774055"/>
              <a:gd name="connsiteX64" fmla="*/ 5875558 w 10259877"/>
              <a:gd name="connsiteY64" fmla="*/ 2227003 h 2774055"/>
              <a:gd name="connsiteX65" fmla="*/ 5879546 w 10259877"/>
              <a:gd name="connsiteY65" fmla="*/ 1328567 h 2774055"/>
              <a:gd name="connsiteX66" fmla="*/ 5677896 w 10259877"/>
              <a:gd name="connsiteY66" fmla="*/ 853389 h 2774055"/>
              <a:gd name="connsiteX67" fmla="*/ 5076944 w 10259877"/>
              <a:gd name="connsiteY67" fmla="*/ 677697 h 2774055"/>
              <a:gd name="connsiteX68" fmla="*/ 4511921 w 10259877"/>
              <a:gd name="connsiteY68" fmla="*/ 819455 h 2774055"/>
              <a:gd name="connsiteX69" fmla="*/ 4266341 w 10259877"/>
              <a:gd name="connsiteY69" fmla="*/ 1376472 h 2774055"/>
              <a:gd name="connsiteX70" fmla="*/ 4589785 w 10259877"/>
              <a:gd name="connsiteY70" fmla="*/ 1376472 h 2774055"/>
              <a:gd name="connsiteX71" fmla="*/ 4731542 w 10259877"/>
              <a:gd name="connsiteY71" fmla="*/ 1039063 h 2774055"/>
              <a:gd name="connsiteX72" fmla="*/ 5076944 w 10259877"/>
              <a:gd name="connsiteY72" fmla="*/ 945236 h 2774055"/>
              <a:gd name="connsiteX73" fmla="*/ 5410357 w 10259877"/>
              <a:gd name="connsiteY73" fmla="*/ 1045058 h 2774055"/>
              <a:gd name="connsiteX74" fmla="*/ 5552115 w 10259877"/>
              <a:gd name="connsiteY74" fmla="*/ 1316579 h 2774055"/>
              <a:gd name="connsiteX75" fmla="*/ 5552115 w 10259877"/>
              <a:gd name="connsiteY75" fmla="*/ 1516235 h 2774055"/>
              <a:gd name="connsiteX76" fmla="*/ 5420340 w 10259877"/>
              <a:gd name="connsiteY76" fmla="*/ 1516235 h 2774055"/>
              <a:gd name="connsiteX77" fmla="*/ 4965133 w 10259877"/>
              <a:gd name="connsiteY77" fmla="*/ 1538194 h 2774055"/>
              <a:gd name="connsiteX78" fmla="*/ 4605761 w 10259877"/>
              <a:gd name="connsiteY78" fmla="*/ 1636022 h 2774055"/>
              <a:gd name="connsiteX79" fmla="*/ 4316265 w 10259877"/>
              <a:gd name="connsiteY79" fmla="*/ 1873613 h 2774055"/>
              <a:gd name="connsiteX80" fmla="*/ 4226412 w 10259877"/>
              <a:gd name="connsiteY80" fmla="*/ 2207039 h 2774055"/>
              <a:gd name="connsiteX81" fmla="*/ 4312265 w 10259877"/>
              <a:gd name="connsiteY81" fmla="*/ 2490541 h 2774055"/>
              <a:gd name="connsiteX82" fmla="*/ 4549856 w 10259877"/>
              <a:gd name="connsiteY82" fmla="*/ 2698186 h 2774055"/>
              <a:gd name="connsiteX83" fmla="*/ 4897252 w 10259877"/>
              <a:gd name="connsiteY83" fmla="*/ 2774056 h 2774055"/>
              <a:gd name="connsiteX84" fmla="*/ 5480233 w 10259877"/>
              <a:gd name="connsiteY84" fmla="*/ 2382731 h 2774055"/>
              <a:gd name="connsiteX85" fmla="*/ 6618203 w 10259877"/>
              <a:gd name="connsiteY85" fmla="*/ 2730127 h 2774055"/>
              <a:gd name="connsiteX86" fmla="*/ 6618203 w 10259877"/>
              <a:gd name="connsiteY86" fmla="*/ 1324567 h 2774055"/>
              <a:gd name="connsiteX87" fmla="*/ 6847807 w 10259877"/>
              <a:gd name="connsiteY87" fmla="*/ 1084987 h 2774055"/>
              <a:gd name="connsiteX88" fmla="*/ 7169244 w 10259877"/>
              <a:gd name="connsiteY88" fmla="*/ 981164 h 2774055"/>
              <a:gd name="connsiteX89" fmla="*/ 7542599 w 10259877"/>
              <a:gd name="connsiteY89" fmla="*/ 1116940 h 2774055"/>
              <a:gd name="connsiteX90" fmla="*/ 7668380 w 10259877"/>
              <a:gd name="connsiteY90" fmla="*/ 1488283 h 2774055"/>
              <a:gd name="connsiteX91" fmla="*/ 7668380 w 10259877"/>
              <a:gd name="connsiteY91" fmla="*/ 2730127 h 2774055"/>
              <a:gd name="connsiteX92" fmla="*/ 7995811 w 10259877"/>
              <a:gd name="connsiteY92" fmla="*/ 2730127 h 2774055"/>
              <a:gd name="connsiteX93" fmla="*/ 7995811 w 10259877"/>
              <a:gd name="connsiteY93" fmla="*/ 1412413 h 2774055"/>
              <a:gd name="connsiteX94" fmla="*/ 7888000 w 10259877"/>
              <a:gd name="connsiteY94" fmla="*/ 1015111 h 2774055"/>
              <a:gd name="connsiteX95" fmla="*/ 7608486 w 10259877"/>
              <a:gd name="connsiteY95" fmla="*/ 773532 h 2774055"/>
              <a:gd name="connsiteX96" fmla="*/ 7249101 w 10259877"/>
              <a:gd name="connsiteY96" fmla="*/ 693674 h 2774055"/>
              <a:gd name="connsiteX97" fmla="*/ 6945635 w 10259877"/>
              <a:gd name="connsiteY97" fmla="*/ 779526 h 2774055"/>
              <a:gd name="connsiteX98" fmla="*/ 6720032 w 10259877"/>
              <a:gd name="connsiteY98" fmla="*/ 987158 h 2774055"/>
              <a:gd name="connsiteX99" fmla="*/ 6618203 w 10259877"/>
              <a:gd name="connsiteY99" fmla="*/ 1128916 h 2774055"/>
              <a:gd name="connsiteX100" fmla="*/ 6478440 w 10259877"/>
              <a:gd name="connsiteY100" fmla="*/ 1128916 h 2774055"/>
              <a:gd name="connsiteX101" fmla="*/ 6566299 w 10259877"/>
              <a:gd name="connsiteY101" fmla="*/ 949223 h 2774055"/>
              <a:gd name="connsiteX102" fmla="*/ 6602227 w 10259877"/>
              <a:gd name="connsiteY102" fmla="*/ 733603 h 2774055"/>
              <a:gd name="connsiteX103" fmla="*/ 6290772 w 10259877"/>
              <a:gd name="connsiteY103" fmla="*/ 733603 h 2774055"/>
              <a:gd name="connsiteX104" fmla="*/ 6290772 w 10259877"/>
              <a:gd name="connsiteY104" fmla="*/ 2730127 h 2774055"/>
              <a:gd name="connsiteX105" fmla="*/ 6618203 w 10259877"/>
              <a:gd name="connsiteY105" fmla="*/ 2730127 h 2774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</a:cxnLst>
            <a:rect l="l" t="t" r="r" b="b"/>
            <a:pathLst>
              <a:path w="10259877" h="2774055">
                <a:moveTo>
                  <a:pt x="10259878" y="2730127"/>
                </a:moveTo>
                <a:lnTo>
                  <a:pt x="9345464" y="1516235"/>
                </a:lnTo>
                <a:lnTo>
                  <a:pt x="10243901" y="733603"/>
                </a:lnTo>
                <a:lnTo>
                  <a:pt x="9832612" y="733603"/>
                </a:lnTo>
                <a:lnTo>
                  <a:pt x="8738519" y="1675963"/>
                </a:lnTo>
                <a:lnTo>
                  <a:pt x="8646673" y="1596093"/>
                </a:lnTo>
                <a:cubicBezTo>
                  <a:pt x="8705194" y="1524224"/>
                  <a:pt x="8741821" y="1432377"/>
                  <a:pt x="8756490" y="1320579"/>
                </a:cubicBezTo>
                <a:cubicBezTo>
                  <a:pt x="8771082" y="1208773"/>
                  <a:pt x="8778448" y="1053046"/>
                  <a:pt x="8778448" y="853389"/>
                </a:cubicBezTo>
                <a:lnTo>
                  <a:pt x="8778448" y="0"/>
                </a:lnTo>
                <a:lnTo>
                  <a:pt x="8455004" y="0"/>
                </a:lnTo>
                <a:lnTo>
                  <a:pt x="8455004" y="2730127"/>
                </a:lnTo>
                <a:lnTo>
                  <a:pt x="8778448" y="2730127"/>
                </a:lnTo>
                <a:lnTo>
                  <a:pt x="8778448" y="2019359"/>
                </a:lnTo>
                <a:lnTo>
                  <a:pt x="9109867" y="1727868"/>
                </a:lnTo>
                <a:lnTo>
                  <a:pt x="9884529" y="2730127"/>
                </a:lnTo>
                <a:lnTo>
                  <a:pt x="10259878" y="2730127"/>
                </a:lnTo>
                <a:close/>
                <a:moveTo>
                  <a:pt x="1946432" y="0"/>
                </a:moveTo>
                <a:lnTo>
                  <a:pt x="0" y="0"/>
                </a:lnTo>
                <a:lnTo>
                  <a:pt x="0" y="246443"/>
                </a:lnTo>
                <a:lnTo>
                  <a:pt x="632714" y="246443"/>
                </a:lnTo>
                <a:lnTo>
                  <a:pt x="632714" y="2730127"/>
                </a:lnTo>
                <a:lnTo>
                  <a:pt x="988098" y="2730127"/>
                </a:lnTo>
                <a:lnTo>
                  <a:pt x="988098" y="246443"/>
                </a:lnTo>
                <a:lnTo>
                  <a:pt x="1946432" y="246443"/>
                </a:lnTo>
                <a:lnTo>
                  <a:pt x="1946432" y="0"/>
                </a:lnTo>
                <a:close/>
                <a:moveTo>
                  <a:pt x="2513424" y="2730127"/>
                </a:moveTo>
                <a:lnTo>
                  <a:pt x="2513424" y="1324567"/>
                </a:lnTo>
                <a:cubicBezTo>
                  <a:pt x="2569329" y="1234110"/>
                  <a:pt x="2645821" y="1154240"/>
                  <a:pt x="2743027" y="1084987"/>
                </a:cubicBezTo>
                <a:cubicBezTo>
                  <a:pt x="2840169" y="1015797"/>
                  <a:pt x="2947294" y="981164"/>
                  <a:pt x="3064464" y="981164"/>
                </a:cubicBezTo>
                <a:cubicBezTo>
                  <a:pt x="3229488" y="981164"/>
                  <a:pt x="3354583" y="1027087"/>
                  <a:pt x="3439813" y="1118934"/>
                </a:cubicBezTo>
                <a:cubicBezTo>
                  <a:pt x="3524979" y="1210767"/>
                  <a:pt x="3567587" y="1333927"/>
                  <a:pt x="3567587" y="1488283"/>
                </a:cubicBezTo>
                <a:lnTo>
                  <a:pt x="3567587" y="2726139"/>
                </a:lnTo>
                <a:lnTo>
                  <a:pt x="3891031" y="2730127"/>
                </a:lnTo>
                <a:lnTo>
                  <a:pt x="3891031" y="1412413"/>
                </a:lnTo>
                <a:cubicBezTo>
                  <a:pt x="3891031" y="1255382"/>
                  <a:pt x="3855090" y="1122921"/>
                  <a:pt x="3783220" y="1015111"/>
                </a:cubicBezTo>
                <a:cubicBezTo>
                  <a:pt x="3711338" y="907301"/>
                  <a:pt x="3618133" y="826808"/>
                  <a:pt x="3503706" y="773532"/>
                </a:cubicBezTo>
                <a:cubicBezTo>
                  <a:pt x="3389216" y="720306"/>
                  <a:pt x="3269429" y="693674"/>
                  <a:pt x="3144334" y="693674"/>
                </a:cubicBezTo>
                <a:cubicBezTo>
                  <a:pt x="3005879" y="693674"/>
                  <a:pt x="2878104" y="731609"/>
                  <a:pt x="2760998" y="807466"/>
                </a:cubicBezTo>
                <a:cubicBezTo>
                  <a:pt x="2643827" y="883336"/>
                  <a:pt x="2562649" y="975868"/>
                  <a:pt x="2517411" y="1084987"/>
                </a:cubicBezTo>
                <a:lnTo>
                  <a:pt x="2377661" y="1084987"/>
                </a:lnTo>
                <a:cubicBezTo>
                  <a:pt x="2417589" y="1015797"/>
                  <a:pt x="2450165" y="908672"/>
                  <a:pt x="2475489" y="763549"/>
                </a:cubicBezTo>
                <a:cubicBezTo>
                  <a:pt x="2500762" y="618490"/>
                  <a:pt x="2513424" y="482041"/>
                  <a:pt x="2513424" y="354254"/>
                </a:cubicBezTo>
                <a:lnTo>
                  <a:pt x="2513424" y="0"/>
                </a:lnTo>
                <a:lnTo>
                  <a:pt x="2185992" y="0"/>
                </a:lnTo>
                <a:lnTo>
                  <a:pt x="2185992" y="2730127"/>
                </a:lnTo>
                <a:lnTo>
                  <a:pt x="2513424" y="2730127"/>
                </a:lnTo>
                <a:close/>
                <a:moveTo>
                  <a:pt x="5552115" y="1995406"/>
                </a:moveTo>
                <a:cubicBezTo>
                  <a:pt x="5552115" y="2093920"/>
                  <a:pt x="5523476" y="2183074"/>
                  <a:pt x="5466263" y="2262945"/>
                </a:cubicBezTo>
                <a:cubicBezTo>
                  <a:pt x="5408986" y="2342802"/>
                  <a:pt x="5332494" y="2404689"/>
                  <a:pt x="5236659" y="2448618"/>
                </a:cubicBezTo>
                <a:cubicBezTo>
                  <a:pt x="5140825" y="2492535"/>
                  <a:pt x="5038323" y="2514506"/>
                  <a:pt x="4929192" y="2514506"/>
                </a:cubicBezTo>
                <a:cubicBezTo>
                  <a:pt x="4825383" y="2514506"/>
                  <a:pt x="4738159" y="2485931"/>
                  <a:pt x="4667649" y="2428654"/>
                </a:cubicBezTo>
                <a:cubicBezTo>
                  <a:pt x="4597088" y="2371441"/>
                  <a:pt x="4561832" y="2297565"/>
                  <a:pt x="4561832" y="2207039"/>
                </a:cubicBezTo>
                <a:cubicBezTo>
                  <a:pt x="4561832" y="2119193"/>
                  <a:pt x="4584426" y="2044695"/>
                  <a:pt x="4629714" y="1983418"/>
                </a:cubicBezTo>
                <a:cubicBezTo>
                  <a:pt x="4674951" y="1922216"/>
                  <a:pt x="4730856" y="1876979"/>
                  <a:pt x="4797430" y="1847654"/>
                </a:cubicBezTo>
                <a:cubicBezTo>
                  <a:pt x="4887892" y="1807726"/>
                  <a:pt x="4989721" y="1781780"/>
                  <a:pt x="5102890" y="1769791"/>
                </a:cubicBezTo>
                <a:cubicBezTo>
                  <a:pt x="5216009" y="1757815"/>
                  <a:pt x="5365755" y="1751833"/>
                  <a:pt x="5552115" y="1751833"/>
                </a:cubicBezTo>
                <a:lnTo>
                  <a:pt x="5552115" y="1995406"/>
                </a:lnTo>
                <a:close/>
                <a:moveTo>
                  <a:pt x="5480233" y="2382731"/>
                </a:moveTo>
                <a:lnTo>
                  <a:pt x="5612008" y="2382731"/>
                </a:lnTo>
                <a:cubicBezTo>
                  <a:pt x="5593352" y="2420043"/>
                  <a:pt x="5584055" y="2466589"/>
                  <a:pt x="5584055" y="2522494"/>
                </a:cubicBezTo>
                <a:cubicBezTo>
                  <a:pt x="5584055" y="2559794"/>
                  <a:pt x="5589364" y="2597729"/>
                  <a:pt x="5600032" y="2636286"/>
                </a:cubicBezTo>
                <a:cubicBezTo>
                  <a:pt x="5610637" y="2674907"/>
                  <a:pt x="5622613" y="2706175"/>
                  <a:pt x="5635973" y="2730127"/>
                </a:cubicBezTo>
                <a:lnTo>
                  <a:pt x="5935452" y="2730127"/>
                </a:lnTo>
                <a:cubicBezTo>
                  <a:pt x="5906127" y="2655628"/>
                  <a:pt x="5888842" y="2579759"/>
                  <a:pt x="5883534" y="2502517"/>
                </a:cubicBezTo>
                <a:cubicBezTo>
                  <a:pt x="5878174" y="2425339"/>
                  <a:pt x="5875558" y="2333506"/>
                  <a:pt x="5875558" y="2227003"/>
                </a:cubicBezTo>
                <a:lnTo>
                  <a:pt x="5879546" y="1328567"/>
                </a:lnTo>
                <a:cubicBezTo>
                  <a:pt x="5879546" y="1128916"/>
                  <a:pt x="5812287" y="970559"/>
                  <a:pt x="5677896" y="853389"/>
                </a:cubicBezTo>
                <a:cubicBezTo>
                  <a:pt x="5543441" y="736283"/>
                  <a:pt x="5343098" y="677697"/>
                  <a:pt x="5076944" y="677697"/>
                </a:cubicBezTo>
                <a:cubicBezTo>
                  <a:pt x="4863940" y="677697"/>
                  <a:pt x="4675637" y="724992"/>
                  <a:pt x="4511921" y="819455"/>
                </a:cubicBezTo>
                <a:cubicBezTo>
                  <a:pt x="4348205" y="913981"/>
                  <a:pt x="4266341" y="1099655"/>
                  <a:pt x="4266341" y="1376472"/>
                </a:cubicBezTo>
                <a:lnTo>
                  <a:pt x="4589785" y="1376472"/>
                </a:lnTo>
                <a:cubicBezTo>
                  <a:pt x="4589785" y="1214145"/>
                  <a:pt x="4637016" y="1101649"/>
                  <a:pt x="4731542" y="1039063"/>
                </a:cubicBezTo>
                <a:cubicBezTo>
                  <a:pt x="4826005" y="976554"/>
                  <a:pt x="4941181" y="945236"/>
                  <a:pt x="5076944" y="945236"/>
                </a:cubicBezTo>
                <a:cubicBezTo>
                  <a:pt x="5204719" y="945236"/>
                  <a:pt x="5315831" y="978548"/>
                  <a:pt x="5410357" y="1045058"/>
                </a:cubicBezTo>
                <a:cubicBezTo>
                  <a:pt x="5504820" y="1111631"/>
                  <a:pt x="5552115" y="1202157"/>
                  <a:pt x="5552115" y="1316579"/>
                </a:cubicBezTo>
                <a:lnTo>
                  <a:pt x="5552115" y="1516235"/>
                </a:lnTo>
                <a:lnTo>
                  <a:pt x="5420340" y="1516235"/>
                </a:lnTo>
                <a:cubicBezTo>
                  <a:pt x="5231300" y="1516235"/>
                  <a:pt x="5079560" y="1523601"/>
                  <a:pt x="4965133" y="1538194"/>
                </a:cubicBezTo>
                <a:cubicBezTo>
                  <a:pt x="4850643" y="1552862"/>
                  <a:pt x="4730856" y="1585488"/>
                  <a:pt x="4605761" y="1636022"/>
                </a:cubicBezTo>
                <a:cubicBezTo>
                  <a:pt x="4472615" y="1691927"/>
                  <a:pt x="4376158" y="1771162"/>
                  <a:pt x="4316265" y="1873613"/>
                </a:cubicBezTo>
                <a:cubicBezTo>
                  <a:pt x="4256359" y="1976128"/>
                  <a:pt x="4226412" y="2087240"/>
                  <a:pt x="4226412" y="2207039"/>
                </a:cubicBezTo>
                <a:cubicBezTo>
                  <a:pt x="4226412" y="2308233"/>
                  <a:pt x="4254987" y="2402695"/>
                  <a:pt x="4312265" y="2490541"/>
                </a:cubicBezTo>
                <a:cubicBezTo>
                  <a:pt x="4369478" y="2578387"/>
                  <a:pt x="4448662" y="2647640"/>
                  <a:pt x="4549856" y="2698186"/>
                </a:cubicBezTo>
                <a:cubicBezTo>
                  <a:pt x="4650986" y="2748720"/>
                  <a:pt x="4766785" y="2774056"/>
                  <a:pt x="4897252" y="2774056"/>
                </a:cubicBezTo>
                <a:cubicBezTo>
                  <a:pt x="5192743" y="2774056"/>
                  <a:pt x="5387027" y="2643652"/>
                  <a:pt x="5480233" y="2382731"/>
                </a:cubicBezTo>
                <a:moveTo>
                  <a:pt x="6618203" y="2730127"/>
                </a:moveTo>
                <a:lnTo>
                  <a:pt x="6618203" y="1324567"/>
                </a:lnTo>
                <a:cubicBezTo>
                  <a:pt x="6674109" y="1234110"/>
                  <a:pt x="6750601" y="1154240"/>
                  <a:pt x="6847807" y="1084987"/>
                </a:cubicBezTo>
                <a:cubicBezTo>
                  <a:pt x="6944949" y="1015797"/>
                  <a:pt x="7052074" y="981164"/>
                  <a:pt x="7169244" y="981164"/>
                </a:cubicBezTo>
                <a:cubicBezTo>
                  <a:pt x="7334267" y="981164"/>
                  <a:pt x="7458740" y="1026465"/>
                  <a:pt x="7542599" y="1116940"/>
                </a:cubicBezTo>
                <a:cubicBezTo>
                  <a:pt x="7626456" y="1207465"/>
                  <a:pt x="7668380" y="1331247"/>
                  <a:pt x="7668380" y="1488283"/>
                </a:cubicBezTo>
                <a:lnTo>
                  <a:pt x="7668380" y="2730127"/>
                </a:lnTo>
                <a:lnTo>
                  <a:pt x="7995811" y="2730127"/>
                </a:lnTo>
                <a:lnTo>
                  <a:pt x="7995811" y="1412413"/>
                </a:lnTo>
                <a:cubicBezTo>
                  <a:pt x="7995811" y="1255382"/>
                  <a:pt x="7959869" y="1122921"/>
                  <a:pt x="7888000" y="1015111"/>
                </a:cubicBezTo>
                <a:cubicBezTo>
                  <a:pt x="7816119" y="907301"/>
                  <a:pt x="7722913" y="826808"/>
                  <a:pt x="7608486" y="773532"/>
                </a:cubicBezTo>
                <a:cubicBezTo>
                  <a:pt x="7493996" y="720306"/>
                  <a:pt x="7374197" y="693674"/>
                  <a:pt x="7249101" y="693674"/>
                </a:cubicBezTo>
                <a:cubicBezTo>
                  <a:pt x="7139920" y="693674"/>
                  <a:pt x="7038789" y="722313"/>
                  <a:pt x="6945635" y="779526"/>
                </a:cubicBezTo>
                <a:cubicBezTo>
                  <a:pt x="6852417" y="836790"/>
                  <a:pt x="6777233" y="905993"/>
                  <a:pt x="6720032" y="987158"/>
                </a:cubicBezTo>
                <a:cubicBezTo>
                  <a:pt x="6662755" y="1068400"/>
                  <a:pt x="6628808" y="1115619"/>
                  <a:pt x="6618203" y="1128916"/>
                </a:cubicBezTo>
                <a:lnTo>
                  <a:pt x="6478440" y="1128916"/>
                </a:lnTo>
                <a:cubicBezTo>
                  <a:pt x="6513010" y="1080999"/>
                  <a:pt x="6542334" y="1021105"/>
                  <a:pt x="6566299" y="949223"/>
                </a:cubicBezTo>
                <a:cubicBezTo>
                  <a:pt x="6590251" y="877354"/>
                  <a:pt x="6602227" y="805472"/>
                  <a:pt x="6602227" y="733603"/>
                </a:cubicBezTo>
                <a:lnTo>
                  <a:pt x="6290772" y="733603"/>
                </a:lnTo>
                <a:lnTo>
                  <a:pt x="6290772" y="2730127"/>
                </a:lnTo>
                <a:lnTo>
                  <a:pt x="6618203" y="2730127"/>
                </a:lnTo>
                <a:close/>
              </a:path>
            </a:pathLst>
          </a:custGeom>
          <a:solidFill>
            <a:srgbClr val="A1B0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119A73AD-FAF9-C844-F97B-C46813E0939E}"/>
              </a:ext>
            </a:extLst>
          </p:cNvPr>
          <p:cNvSpPr/>
          <p:nvPr/>
        </p:nvSpPr>
        <p:spPr>
          <a:xfrm>
            <a:off x="6415836" y="3503548"/>
            <a:ext cx="5777369" cy="2795142"/>
          </a:xfrm>
          <a:custGeom>
            <a:avLst/>
            <a:gdLst>
              <a:gd name="connsiteX0" fmla="*/ 3521875 w 5777369"/>
              <a:gd name="connsiteY0" fmla="*/ 1038187 h 2795142"/>
              <a:gd name="connsiteX1" fmla="*/ 3350171 w 5777369"/>
              <a:gd name="connsiteY1" fmla="*/ 1603210 h 2795142"/>
              <a:gd name="connsiteX2" fmla="*/ 2878988 w 5777369"/>
              <a:gd name="connsiteY2" fmla="*/ 1824825 h 2795142"/>
              <a:gd name="connsiteX3" fmla="*/ 2403818 w 5777369"/>
              <a:gd name="connsiteY3" fmla="*/ 1605204 h 2795142"/>
              <a:gd name="connsiteX4" fmla="*/ 2232114 w 5777369"/>
              <a:gd name="connsiteY4" fmla="*/ 1038187 h 2795142"/>
              <a:gd name="connsiteX5" fmla="*/ 2403818 w 5777369"/>
              <a:gd name="connsiteY5" fmla="*/ 477164 h 2795142"/>
              <a:gd name="connsiteX6" fmla="*/ 2878988 w 5777369"/>
              <a:gd name="connsiteY6" fmla="*/ 259537 h 2795142"/>
              <a:gd name="connsiteX7" fmla="*/ 3350171 w 5777369"/>
              <a:gd name="connsiteY7" fmla="*/ 477164 h 2795142"/>
              <a:gd name="connsiteX8" fmla="*/ 3521875 w 5777369"/>
              <a:gd name="connsiteY8" fmla="*/ 1038187 h 2795142"/>
              <a:gd name="connsiteX9" fmla="*/ 3583762 w 5777369"/>
              <a:gd name="connsiteY9" fmla="*/ 1800873 h 2795142"/>
              <a:gd name="connsiteX10" fmla="*/ 3841319 w 5777369"/>
              <a:gd name="connsiteY10" fmla="*/ 1038187 h 2795142"/>
              <a:gd name="connsiteX11" fmla="*/ 3583762 w 5777369"/>
              <a:gd name="connsiteY11" fmla="*/ 279514 h 2795142"/>
              <a:gd name="connsiteX12" fmla="*/ 2878988 w 5777369"/>
              <a:gd name="connsiteY12" fmla="*/ 0 h 2795142"/>
              <a:gd name="connsiteX13" fmla="*/ 2170215 w 5777369"/>
              <a:gd name="connsiteY13" fmla="*/ 279514 h 2795142"/>
              <a:gd name="connsiteX14" fmla="*/ 1912671 w 5777369"/>
              <a:gd name="connsiteY14" fmla="*/ 1038187 h 2795142"/>
              <a:gd name="connsiteX15" fmla="*/ 2170215 w 5777369"/>
              <a:gd name="connsiteY15" fmla="*/ 1800873 h 2795142"/>
              <a:gd name="connsiteX16" fmla="*/ 2878988 w 5777369"/>
              <a:gd name="connsiteY16" fmla="*/ 2080387 h 2795142"/>
              <a:gd name="connsiteX17" fmla="*/ 3583762 w 5777369"/>
              <a:gd name="connsiteY17" fmla="*/ 1800873 h 2795142"/>
              <a:gd name="connsiteX18" fmla="*/ 782650 w 5777369"/>
              <a:gd name="connsiteY18" fmla="*/ 2076387 h 2795142"/>
              <a:gd name="connsiteX19" fmla="*/ 782650 w 5777369"/>
              <a:gd name="connsiteY19" fmla="*/ 2260067 h 2795142"/>
              <a:gd name="connsiteX20" fmla="*/ 738721 w 5777369"/>
              <a:gd name="connsiteY20" fmla="*/ 2449741 h 2795142"/>
              <a:gd name="connsiteX21" fmla="*/ 551053 w 5777369"/>
              <a:gd name="connsiteY21" fmla="*/ 2503640 h 2795142"/>
              <a:gd name="connsiteX22" fmla="*/ 371361 w 5777369"/>
              <a:gd name="connsiteY22" fmla="*/ 2503640 h 2795142"/>
              <a:gd name="connsiteX23" fmla="*/ 371361 w 5777369"/>
              <a:gd name="connsiteY23" fmla="*/ 2795143 h 2795142"/>
              <a:gd name="connsiteX24" fmla="*/ 555041 w 5777369"/>
              <a:gd name="connsiteY24" fmla="*/ 2795143 h 2795142"/>
              <a:gd name="connsiteX25" fmla="*/ 890461 w 5777369"/>
              <a:gd name="connsiteY25" fmla="*/ 2751214 h 2795142"/>
              <a:gd name="connsiteX26" fmla="*/ 1058165 w 5777369"/>
              <a:gd name="connsiteY26" fmla="*/ 2595499 h 2795142"/>
              <a:gd name="connsiteX27" fmla="*/ 1110082 w 5777369"/>
              <a:gd name="connsiteY27" fmla="*/ 2264055 h 2795142"/>
              <a:gd name="connsiteX28" fmla="*/ 1110082 w 5777369"/>
              <a:gd name="connsiteY28" fmla="*/ 2040446 h 2795142"/>
              <a:gd name="connsiteX29" fmla="*/ 1856779 w 5777369"/>
              <a:gd name="connsiteY29" fmla="*/ 43917 h 2795142"/>
              <a:gd name="connsiteX30" fmla="*/ 1509383 w 5777369"/>
              <a:gd name="connsiteY30" fmla="*/ 43917 h 2795142"/>
              <a:gd name="connsiteX31" fmla="*/ 1169975 w 5777369"/>
              <a:gd name="connsiteY31" fmla="*/ 1014247 h 2795142"/>
              <a:gd name="connsiteX32" fmla="*/ 1062164 w 5777369"/>
              <a:gd name="connsiteY32" fmla="*/ 1381608 h 2795142"/>
              <a:gd name="connsiteX33" fmla="*/ 1018235 w 5777369"/>
              <a:gd name="connsiteY33" fmla="*/ 1673086 h 2795142"/>
              <a:gd name="connsiteX34" fmla="*/ 878485 w 5777369"/>
              <a:gd name="connsiteY34" fmla="*/ 1673086 h 2795142"/>
              <a:gd name="connsiteX35" fmla="*/ 844537 w 5777369"/>
              <a:gd name="connsiteY35" fmla="*/ 1443482 h 2795142"/>
              <a:gd name="connsiteX36" fmla="*/ 750697 w 5777369"/>
              <a:gd name="connsiteY36" fmla="*/ 1138022 h 2795142"/>
              <a:gd name="connsiteX37" fmla="*/ 714769 w 5777369"/>
              <a:gd name="connsiteY37" fmla="*/ 1030199 h 2795142"/>
              <a:gd name="connsiteX38" fmla="*/ 359385 w 5777369"/>
              <a:gd name="connsiteY38" fmla="*/ 43917 h 2795142"/>
              <a:gd name="connsiteX39" fmla="*/ 0 w 5777369"/>
              <a:gd name="connsiteY39" fmla="*/ 43917 h 2795142"/>
              <a:gd name="connsiteX40" fmla="*/ 782650 w 5777369"/>
              <a:gd name="connsiteY40" fmla="*/ 2076399 h 2795142"/>
              <a:gd name="connsiteX41" fmla="*/ 5534381 w 5777369"/>
              <a:gd name="connsiteY41" fmla="*/ 43917 h 2795142"/>
              <a:gd name="connsiteX42" fmla="*/ 5534381 w 5777369"/>
              <a:gd name="connsiteY42" fmla="*/ 1449489 h 2795142"/>
              <a:gd name="connsiteX43" fmla="*/ 5304778 w 5777369"/>
              <a:gd name="connsiteY43" fmla="*/ 1689062 h 2795142"/>
              <a:gd name="connsiteX44" fmla="*/ 4983341 w 5777369"/>
              <a:gd name="connsiteY44" fmla="*/ 1792884 h 2795142"/>
              <a:gd name="connsiteX45" fmla="*/ 4609986 w 5777369"/>
              <a:gd name="connsiteY45" fmla="*/ 1657121 h 2795142"/>
              <a:gd name="connsiteX46" fmla="*/ 4484205 w 5777369"/>
              <a:gd name="connsiteY46" fmla="*/ 1285761 h 2795142"/>
              <a:gd name="connsiteX47" fmla="*/ 4484205 w 5777369"/>
              <a:gd name="connsiteY47" fmla="*/ 47904 h 2795142"/>
              <a:gd name="connsiteX48" fmla="*/ 4156774 w 5777369"/>
              <a:gd name="connsiteY48" fmla="*/ 43917 h 2795142"/>
              <a:gd name="connsiteX49" fmla="*/ 4156774 w 5777369"/>
              <a:gd name="connsiteY49" fmla="*/ 1361631 h 2795142"/>
              <a:gd name="connsiteX50" fmla="*/ 4264585 w 5777369"/>
              <a:gd name="connsiteY50" fmla="*/ 1758937 h 2795142"/>
              <a:gd name="connsiteX51" fmla="*/ 4544098 w 5777369"/>
              <a:gd name="connsiteY51" fmla="*/ 2000517 h 2795142"/>
              <a:gd name="connsiteX52" fmla="*/ 4903470 w 5777369"/>
              <a:gd name="connsiteY52" fmla="*/ 2080374 h 2795142"/>
              <a:gd name="connsiteX53" fmla="*/ 5206949 w 5777369"/>
              <a:gd name="connsiteY53" fmla="*/ 1994523 h 2795142"/>
              <a:gd name="connsiteX54" fmla="*/ 5432552 w 5777369"/>
              <a:gd name="connsiteY54" fmla="*/ 1786890 h 2795142"/>
              <a:gd name="connsiteX55" fmla="*/ 5534381 w 5777369"/>
              <a:gd name="connsiteY55" fmla="*/ 1645133 h 2795142"/>
              <a:gd name="connsiteX56" fmla="*/ 5674132 w 5777369"/>
              <a:gd name="connsiteY56" fmla="*/ 1645133 h 2795142"/>
              <a:gd name="connsiteX57" fmla="*/ 5586286 w 5777369"/>
              <a:gd name="connsiteY57" fmla="*/ 1824825 h 2795142"/>
              <a:gd name="connsiteX58" fmla="*/ 5550357 w 5777369"/>
              <a:gd name="connsiteY58" fmla="*/ 2040446 h 2795142"/>
              <a:gd name="connsiteX59" fmla="*/ 5777370 w 5777369"/>
              <a:gd name="connsiteY59" fmla="*/ 2040446 h 2795142"/>
              <a:gd name="connsiteX60" fmla="*/ 5777370 w 5777369"/>
              <a:gd name="connsiteY60" fmla="*/ 43917 h 2795142"/>
              <a:gd name="connsiteX61" fmla="*/ 5534381 w 5777369"/>
              <a:gd name="connsiteY61" fmla="*/ 43917 h 2795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5777369" h="2795142">
                <a:moveTo>
                  <a:pt x="3521875" y="1038187"/>
                </a:moveTo>
                <a:cubicBezTo>
                  <a:pt x="3521875" y="1267168"/>
                  <a:pt x="3464598" y="1455458"/>
                  <a:pt x="3350171" y="1603210"/>
                </a:cubicBezTo>
                <a:cubicBezTo>
                  <a:pt x="3235681" y="1750949"/>
                  <a:pt x="3078645" y="1824825"/>
                  <a:pt x="2878988" y="1824825"/>
                </a:cubicBezTo>
                <a:cubicBezTo>
                  <a:pt x="2676652" y="1824825"/>
                  <a:pt x="2518245" y="1751635"/>
                  <a:pt x="2403818" y="1605204"/>
                </a:cubicBezTo>
                <a:cubicBezTo>
                  <a:pt x="2289327" y="1458849"/>
                  <a:pt x="2232114" y="1269784"/>
                  <a:pt x="2232114" y="1038187"/>
                </a:cubicBezTo>
                <a:cubicBezTo>
                  <a:pt x="2232114" y="809270"/>
                  <a:pt x="2289327" y="622287"/>
                  <a:pt x="2403818" y="477164"/>
                </a:cubicBezTo>
                <a:cubicBezTo>
                  <a:pt x="2518245" y="332105"/>
                  <a:pt x="2676652" y="259537"/>
                  <a:pt x="2878988" y="259537"/>
                </a:cubicBezTo>
                <a:cubicBezTo>
                  <a:pt x="3078645" y="259537"/>
                  <a:pt x="3235681" y="332105"/>
                  <a:pt x="3350171" y="477164"/>
                </a:cubicBezTo>
                <a:cubicBezTo>
                  <a:pt x="3464598" y="622287"/>
                  <a:pt x="3521875" y="809270"/>
                  <a:pt x="3521875" y="1038187"/>
                </a:cubicBezTo>
                <a:moveTo>
                  <a:pt x="3583762" y="1800873"/>
                </a:moveTo>
                <a:cubicBezTo>
                  <a:pt x="3755467" y="1614564"/>
                  <a:pt x="3841319" y="1360322"/>
                  <a:pt x="3841319" y="1038187"/>
                </a:cubicBezTo>
                <a:cubicBezTo>
                  <a:pt x="3841319" y="718757"/>
                  <a:pt x="3755467" y="465874"/>
                  <a:pt x="3583762" y="279514"/>
                </a:cubicBezTo>
                <a:cubicBezTo>
                  <a:pt x="3412058" y="93218"/>
                  <a:pt x="3177096" y="0"/>
                  <a:pt x="2878988" y="0"/>
                </a:cubicBezTo>
                <a:cubicBezTo>
                  <a:pt x="2578138" y="0"/>
                  <a:pt x="2341918" y="93218"/>
                  <a:pt x="2170215" y="279514"/>
                </a:cubicBezTo>
                <a:cubicBezTo>
                  <a:pt x="1998523" y="465874"/>
                  <a:pt x="1912671" y="718757"/>
                  <a:pt x="1912671" y="1038187"/>
                </a:cubicBezTo>
                <a:cubicBezTo>
                  <a:pt x="1912671" y="1360335"/>
                  <a:pt x="1998523" y="1614564"/>
                  <a:pt x="2170215" y="1800873"/>
                </a:cubicBezTo>
                <a:cubicBezTo>
                  <a:pt x="2341918" y="1987233"/>
                  <a:pt x="2578138" y="2080387"/>
                  <a:pt x="2878988" y="2080387"/>
                </a:cubicBezTo>
                <a:cubicBezTo>
                  <a:pt x="3177096" y="2080387"/>
                  <a:pt x="3412058" y="1987233"/>
                  <a:pt x="3583762" y="1800873"/>
                </a:cubicBezTo>
                <a:moveTo>
                  <a:pt x="782650" y="2076387"/>
                </a:moveTo>
                <a:lnTo>
                  <a:pt x="782650" y="2260067"/>
                </a:lnTo>
                <a:cubicBezTo>
                  <a:pt x="782650" y="2350529"/>
                  <a:pt x="767982" y="2413813"/>
                  <a:pt x="738721" y="2449741"/>
                </a:cubicBezTo>
                <a:cubicBezTo>
                  <a:pt x="709397" y="2485670"/>
                  <a:pt x="646875" y="2503640"/>
                  <a:pt x="551053" y="2503640"/>
                </a:cubicBezTo>
                <a:lnTo>
                  <a:pt x="371361" y="2503640"/>
                </a:lnTo>
                <a:lnTo>
                  <a:pt x="371361" y="2795143"/>
                </a:lnTo>
                <a:lnTo>
                  <a:pt x="555041" y="2795143"/>
                </a:lnTo>
                <a:cubicBezTo>
                  <a:pt x="701409" y="2795143"/>
                  <a:pt x="813219" y="2780487"/>
                  <a:pt x="890461" y="2751214"/>
                </a:cubicBezTo>
                <a:cubicBezTo>
                  <a:pt x="967638" y="2721902"/>
                  <a:pt x="1023544" y="2669985"/>
                  <a:pt x="1058165" y="2595499"/>
                </a:cubicBezTo>
                <a:cubicBezTo>
                  <a:pt x="1092734" y="2520925"/>
                  <a:pt x="1110082" y="2410435"/>
                  <a:pt x="1110082" y="2264055"/>
                </a:cubicBezTo>
                <a:lnTo>
                  <a:pt x="1110082" y="2040446"/>
                </a:lnTo>
                <a:lnTo>
                  <a:pt x="1856779" y="43917"/>
                </a:lnTo>
                <a:lnTo>
                  <a:pt x="1509383" y="43917"/>
                </a:lnTo>
                <a:lnTo>
                  <a:pt x="1169975" y="1014247"/>
                </a:lnTo>
                <a:cubicBezTo>
                  <a:pt x="1127354" y="1147382"/>
                  <a:pt x="1091425" y="1269784"/>
                  <a:pt x="1062164" y="1381608"/>
                </a:cubicBezTo>
                <a:cubicBezTo>
                  <a:pt x="1032840" y="1493406"/>
                  <a:pt x="1018235" y="1590612"/>
                  <a:pt x="1018235" y="1673086"/>
                </a:cubicBezTo>
                <a:lnTo>
                  <a:pt x="878485" y="1673086"/>
                </a:lnTo>
                <a:cubicBezTo>
                  <a:pt x="878485" y="1606576"/>
                  <a:pt x="867130" y="1530020"/>
                  <a:pt x="844537" y="1443482"/>
                </a:cubicBezTo>
                <a:cubicBezTo>
                  <a:pt x="821894" y="1357008"/>
                  <a:pt x="790639" y="1255192"/>
                  <a:pt x="750697" y="1138022"/>
                </a:cubicBezTo>
                <a:lnTo>
                  <a:pt x="714769" y="1030199"/>
                </a:lnTo>
                <a:lnTo>
                  <a:pt x="359385" y="43917"/>
                </a:lnTo>
                <a:lnTo>
                  <a:pt x="0" y="43917"/>
                </a:lnTo>
                <a:lnTo>
                  <a:pt x="782650" y="2076399"/>
                </a:lnTo>
                <a:close/>
                <a:moveTo>
                  <a:pt x="5534381" y="43917"/>
                </a:moveTo>
                <a:lnTo>
                  <a:pt x="5534381" y="1449489"/>
                </a:lnTo>
                <a:cubicBezTo>
                  <a:pt x="5478476" y="1540002"/>
                  <a:pt x="5401920" y="1619860"/>
                  <a:pt x="5304778" y="1689062"/>
                </a:cubicBezTo>
                <a:cubicBezTo>
                  <a:pt x="5207572" y="1758315"/>
                  <a:pt x="5100447" y="1792884"/>
                  <a:pt x="4983341" y="1792884"/>
                </a:cubicBezTo>
                <a:cubicBezTo>
                  <a:pt x="4818253" y="1792884"/>
                  <a:pt x="4693844" y="1747647"/>
                  <a:pt x="4609986" y="1657121"/>
                </a:cubicBezTo>
                <a:cubicBezTo>
                  <a:pt x="4526128" y="1566647"/>
                  <a:pt x="4484205" y="1442872"/>
                  <a:pt x="4484205" y="1285761"/>
                </a:cubicBezTo>
                <a:lnTo>
                  <a:pt x="4484205" y="47904"/>
                </a:lnTo>
                <a:lnTo>
                  <a:pt x="4156774" y="43917"/>
                </a:lnTo>
                <a:lnTo>
                  <a:pt x="4156774" y="1361631"/>
                </a:lnTo>
                <a:cubicBezTo>
                  <a:pt x="4156774" y="1518729"/>
                  <a:pt x="4192714" y="1651127"/>
                  <a:pt x="4264585" y="1758937"/>
                </a:cubicBezTo>
                <a:cubicBezTo>
                  <a:pt x="4336466" y="1866748"/>
                  <a:pt x="4429608" y="1947291"/>
                  <a:pt x="4544098" y="2000517"/>
                </a:cubicBezTo>
                <a:cubicBezTo>
                  <a:pt x="4658526" y="2053743"/>
                  <a:pt x="4778324" y="2080374"/>
                  <a:pt x="4903470" y="2080374"/>
                </a:cubicBezTo>
                <a:cubicBezTo>
                  <a:pt x="5012602" y="2080374"/>
                  <a:pt x="5113732" y="2051736"/>
                  <a:pt x="5206949" y="1994523"/>
                </a:cubicBezTo>
                <a:cubicBezTo>
                  <a:pt x="5300104" y="1937309"/>
                  <a:pt x="5375288" y="1868119"/>
                  <a:pt x="5432552" y="1786890"/>
                </a:cubicBezTo>
                <a:cubicBezTo>
                  <a:pt x="5489766" y="1705712"/>
                  <a:pt x="5523713" y="1658493"/>
                  <a:pt x="5534381" y="1645133"/>
                </a:cubicBezTo>
                <a:lnTo>
                  <a:pt x="5674132" y="1645133"/>
                </a:lnTo>
                <a:cubicBezTo>
                  <a:pt x="5639511" y="1693050"/>
                  <a:pt x="5610250" y="1752943"/>
                  <a:pt x="5586286" y="1824825"/>
                </a:cubicBezTo>
                <a:cubicBezTo>
                  <a:pt x="5562334" y="1896694"/>
                  <a:pt x="5550357" y="1968576"/>
                  <a:pt x="5550357" y="2040446"/>
                </a:cubicBezTo>
                <a:lnTo>
                  <a:pt x="5777370" y="2040446"/>
                </a:lnTo>
                <a:lnTo>
                  <a:pt x="5777370" y="43917"/>
                </a:lnTo>
                <a:lnTo>
                  <a:pt x="5534381" y="43917"/>
                </a:lnTo>
                <a:close/>
              </a:path>
            </a:pathLst>
          </a:custGeom>
          <a:solidFill>
            <a:srgbClr val="EFF1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7528A44A-513A-5CBB-5894-EADDDC30CFD6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489769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Juniper - Editable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 hidden="1">
            <a:extLst>
              <a:ext uri="{FF2B5EF4-FFF2-40B4-BE49-F238E27FC236}">
                <a16:creationId xmlns:a16="http://schemas.microsoft.com/office/drawing/2014/main" id="{3566DBC6-DC9E-B5CC-D2DA-709BFA67E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10" hidden="1">
            <a:extLst>
              <a:ext uri="{FF2B5EF4-FFF2-40B4-BE49-F238E27FC236}">
                <a16:creationId xmlns:a16="http://schemas.microsoft.com/office/drawing/2014/main" id="{A1BC3E4C-5083-3D97-AC57-99CCE1504E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CD47B9-37F8-2F83-E4BD-279070D85D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409187" y="-230400"/>
            <a:ext cx="10897793" cy="3355975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1400" spc="-150">
                <a:solidFill>
                  <a:srgbClr val="A1B0FF"/>
                </a:solidFill>
                <a:latin typeface="+mj-lt"/>
              </a:defRPr>
            </a:lvl1pPr>
            <a:lvl2pPr>
              <a:defRPr>
                <a:solidFill>
                  <a:srgbClr val="BFE6C4"/>
                </a:solidFill>
              </a:defRPr>
            </a:lvl2pPr>
            <a:lvl3pPr>
              <a:defRPr>
                <a:solidFill>
                  <a:srgbClr val="BFE6C4"/>
                </a:solidFill>
              </a:defRPr>
            </a:lvl3pPr>
            <a:lvl4pPr>
              <a:defRPr>
                <a:solidFill>
                  <a:srgbClr val="BFE6C4"/>
                </a:solidFill>
              </a:defRPr>
            </a:lvl4pPr>
            <a:lvl5pPr>
              <a:defRPr>
                <a:solidFill>
                  <a:srgbClr val="BFE6C4"/>
                </a:solidFill>
              </a:defRPr>
            </a:lvl5pPr>
          </a:lstStyle>
          <a:p>
            <a:pPr lvl="0"/>
            <a:r>
              <a:rPr lang="en-GB" dirty="0"/>
              <a:t>Tx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4B57F1A-AC2A-2E54-012A-4586D61AC1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7600" y="2588400"/>
            <a:ext cx="6577906" cy="3355975"/>
          </a:xfrm>
        </p:spPr>
        <p:txBody>
          <a:bodyPr/>
          <a:lstStyle>
            <a:lvl1pPr marL="0" indent="0" algn="r">
              <a:lnSpc>
                <a:spcPct val="80000"/>
              </a:lnSpc>
              <a:buNone/>
              <a:defRPr sz="31400" spc="-150">
                <a:solidFill>
                  <a:srgbClr val="EFF1FF"/>
                </a:solidFill>
                <a:latin typeface="+mj-lt"/>
              </a:defRPr>
            </a:lvl1pPr>
            <a:lvl2pPr>
              <a:defRPr>
                <a:solidFill>
                  <a:srgbClr val="BFE6C4"/>
                </a:solidFill>
              </a:defRPr>
            </a:lvl2pPr>
            <a:lvl3pPr>
              <a:defRPr>
                <a:solidFill>
                  <a:srgbClr val="BFE6C4"/>
                </a:solidFill>
              </a:defRPr>
            </a:lvl3pPr>
            <a:lvl4pPr>
              <a:defRPr>
                <a:solidFill>
                  <a:srgbClr val="BFE6C4"/>
                </a:solidFill>
              </a:defRPr>
            </a:lvl4pPr>
            <a:lvl5pPr>
              <a:defRPr>
                <a:solidFill>
                  <a:srgbClr val="BFE6C4"/>
                </a:solidFill>
              </a:defRPr>
            </a:lvl5pPr>
          </a:lstStyle>
          <a:p>
            <a:pPr lvl="0"/>
            <a:r>
              <a:rPr lang="en-GB" dirty="0"/>
              <a:t>txt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B3AE4E69-E715-FD84-5291-E99F9C0B3DB1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EFF1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EFF1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EFF1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478628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Flu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BCF0A2A-270B-7060-D66D-0A91BAC6C8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Footer Placeholder 8" hidden="1">
            <a:extLst>
              <a:ext uri="{FF2B5EF4-FFF2-40B4-BE49-F238E27FC236}">
                <a16:creationId xmlns:a16="http://schemas.microsoft.com/office/drawing/2014/main" id="{293CB158-735E-2245-3D9E-8882568A876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10" hidden="1">
            <a:extLst>
              <a:ext uri="{FF2B5EF4-FFF2-40B4-BE49-F238E27FC236}">
                <a16:creationId xmlns:a16="http://schemas.microsoft.com/office/drawing/2014/main" id="{40618A56-C886-A5A5-2D2A-B21BEE41EC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406740AE-F325-E079-9953-D39EC2285C9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299200"/>
          </a:xfrm>
          <a:prstGeom prst="rect">
            <a:avLst/>
          </a:prstGeom>
        </p:spPr>
      </p:pic>
      <p:sp>
        <p:nvSpPr>
          <p:cNvPr id="3" name="Copyright">
            <a:extLst>
              <a:ext uri="{FF2B5EF4-FFF2-40B4-BE49-F238E27FC236}">
                <a16:creationId xmlns:a16="http://schemas.microsoft.com/office/drawing/2014/main" id="{CD33A6A7-3ECE-AF70-BC72-772D68FED48A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263140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263140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263140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863932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Flux - Blue - 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BCF0A2A-270B-7060-D66D-0A91BAC6C8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B6E9F644-997F-25A4-53CE-4B9F080493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10" hidden="1">
            <a:extLst>
              <a:ext uri="{FF2B5EF4-FFF2-40B4-BE49-F238E27FC236}">
                <a16:creationId xmlns:a16="http://schemas.microsoft.com/office/drawing/2014/main" id="{F3371560-A26F-0B73-12C5-785C3F9C76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88316AD-11B6-814A-E8CE-9C8CB98ADA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409187" y="-230400"/>
            <a:ext cx="10897793" cy="3355975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1400" spc="-150">
                <a:solidFill>
                  <a:srgbClr val="EFF1FF"/>
                </a:solidFill>
                <a:latin typeface="+mj-lt"/>
              </a:defRPr>
            </a:lvl1pPr>
            <a:lvl2pPr>
              <a:defRPr>
                <a:solidFill>
                  <a:srgbClr val="BFE6C4"/>
                </a:solidFill>
              </a:defRPr>
            </a:lvl2pPr>
            <a:lvl3pPr>
              <a:defRPr>
                <a:solidFill>
                  <a:srgbClr val="BFE6C4"/>
                </a:solidFill>
              </a:defRPr>
            </a:lvl3pPr>
            <a:lvl4pPr>
              <a:defRPr>
                <a:solidFill>
                  <a:srgbClr val="BFE6C4"/>
                </a:solidFill>
              </a:defRPr>
            </a:lvl4pPr>
            <a:lvl5pPr>
              <a:defRPr>
                <a:solidFill>
                  <a:srgbClr val="BFE6C4"/>
                </a:solidFill>
              </a:defRPr>
            </a:lvl5pPr>
          </a:lstStyle>
          <a:p>
            <a:pPr lvl="0"/>
            <a:r>
              <a:rPr lang="en-GB" dirty="0"/>
              <a:t>T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ACE09B-DEBE-DB66-35C3-9133243E54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7600" y="2588400"/>
            <a:ext cx="6577906" cy="3355975"/>
          </a:xfrm>
        </p:spPr>
        <p:txBody>
          <a:bodyPr/>
          <a:lstStyle>
            <a:lvl1pPr marL="0" indent="0" algn="r">
              <a:lnSpc>
                <a:spcPct val="80000"/>
              </a:lnSpc>
              <a:buNone/>
              <a:defRPr sz="31400" spc="-150">
                <a:solidFill>
                  <a:srgbClr val="EFF1FF"/>
                </a:solidFill>
                <a:latin typeface="+mj-lt"/>
              </a:defRPr>
            </a:lvl1pPr>
            <a:lvl2pPr>
              <a:defRPr>
                <a:solidFill>
                  <a:srgbClr val="BFE6C4"/>
                </a:solidFill>
              </a:defRPr>
            </a:lvl2pPr>
            <a:lvl3pPr>
              <a:defRPr>
                <a:solidFill>
                  <a:srgbClr val="BFE6C4"/>
                </a:solidFill>
              </a:defRPr>
            </a:lvl3pPr>
            <a:lvl4pPr>
              <a:defRPr>
                <a:solidFill>
                  <a:srgbClr val="BFE6C4"/>
                </a:solidFill>
              </a:defRPr>
            </a:lvl4pPr>
            <a:lvl5pPr>
              <a:defRPr>
                <a:solidFill>
                  <a:srgbClr val="BFE6C4"/>
                </a:solidFill>
              </a:defRPr>
            </a:lvl5pPr>
          </a:lstStyle>
          <a:p>
            <a:pPr lvl="0"/>
            <a:r>
              <a:rPr lang="en-GB" dirty="0"/>
              <a:t>txt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2581F27E-9DB3-27BB-AF6E-739CAF9B2D0C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263140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263140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263140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161166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k - Juniper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 hidden="1">
            <a:extLst>
              <a:ext uri="{FF2B5EF4-FFF2-40B4-BE49-F238E27FC236}">
                <a16:creationId xmlns:a16="http://schemas.microsoft.com/office/drawing/2014/main" id="{316E1EC3-E4BA-9A4B-81EB-37F3031BBF6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10" hidden="1">
            <a:extLst>
              <a:ext uri="{FF2B5EF4-FFF2-40B4-BE49-F238E27FC236}">
                <a16:creationId xmlns:a16="http://schemas.microsoft.com/office/drawing/2014/main" id="{40FEEA0D-1FCA-7FE4-FC2E-1F48255704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4" name="Graphic 2">
            <a:extLst>
              <a:ext uri="{FF2B5EF4-FFF2-40B4-BE49-F238E27FC236}">
                <a16:creationId xmlns:a16="http://schemas.microsoft.com/office/drawing/2014/main" id="{9D75A572-CBC1-1D39-3777-E55C8A083D11}"/>
              </a:ext>
            </a:extLst>
          </p:cNvPr>
          <p:cNvSpPr/>
          <p:nvPr/>
        </p:nvSpPr>
        <p:spPr>
          <a:xfrm>
            <a:off x="4967175" y="1413259"/>
            <a:ext cx="7224826" cy="3851760"/>
          </a:xfrm>
          <a:custGeom>
            <a:avLst/>
            <a:gdLst>
              <a:gd name="connsiteX0" fmla="*/ 5413220 w 5413219"/>
              <a:gd name="connsiteY0" fmla="*/ 2133562 h 2885941"/>
              <a:gd name="connsiteX1" fmla="*/ 5016837 w 5413219"/>
              <a:gd name="connsiteY1" fmla="*/ 1607353 h 2885941"/>
              <a:gd name="connsiteX2" fmla="*/ 5413220 w 5413219"/>
              <a:gd name="connsiteY2" fmla="*/ 1262062 h 2885941"/>
              <a:gd name="connsiteX3" fmla="*/ 5413220 w 5413219"/>
              <a:gd name="connsiteY3" fmla="*/ 896902 h 2885941"/>
              <a:gd name="connsiteX4" fmla="*/ 4399874 w 5413219"/>
              <a:gd name="connsiteY4" fmla="*/ 1769716 h 2885941"/>
              <a:gd name="connsiteX5" fmla="*/ 4306510 w 5413219"/>
              <a:gd name="connsiteY5" fmla="*/ 1688535 h 2885941"/>
              <a:gd name="connsiteX6" fmla="*/ 4418133 w 5413219"/>
              <a:gd name="connsiteY6" fmla="*/ 1408471 h 2885941"/>
              <a:gd name="connsiteX7" fmla="*/ 4440460 w 5413219"/>
              <a:gd name="connsiteY7" fmla="*/ 933564 h 2885941"/>
              <a:gd name="connsiteX8" fmla="*/ 4440460 w 5413219"/>
              <a:gd name="connsiteY8" fmla="*/ 0 h 2885941"/>
              <a:gd name="connsiteX9" fmla="*/ 4111685 w 5413219"/>
              <a:gd name="connsiteY9" fmla="*/ 0 h 2885941"/>
              <a:gd name="connsiteX10" fmla="*/ 4111685 w 5413219"/>
              <a:gd name="connsiteY10" fmla="*/ 2841289 h 2885941"/>
              <a:gd name="connsiteX11" fmla="*/ 4440460 w 5413219"/>
              <a:gd name="connsiteY11" fmla="*/ 2841289 h 2885941"/>
              <a:gd name="connsiteX12" fmla="*/ 4440460 w 5413219"/>
              <a:gd name="connsiteY12" fmla="*/ 2118789 h 2885941"/>
              <a:gd name="connsiteX13" fmla="*/ 4777360 w 5413219"/>
              <a:gd name="connsiteY13" fmla="*/ 1822485 h 2885941"/>
              <a:gd name="connsiteX14" fmla="*/ 5413220 w 5413219"/>
              <a:gd name="connsiteY14" fmla="*/ 2645178 h 2885941"/>
              <a:gd name="connsiteX15" fmla="*/ 5413220 w 5413219"/>
              <a:gd name="connsiteY15" fmla="*/ 2133562 h 2885941"/>
              <a:gd name="connsiteX16" fmla="*/ 3368916 w 5413219"/>
              <a:gd name="connsiteY16" fmla="*/ 2094433 h 2885941"/>
              <a:gd name="connsiteX17" fmla="*/ 3281648 w 5413219"/>
              <a:gd name="connsiteY17" fmla="*/ 2366391 h 2885941"/>
              <a:gd name="connsiteX18" fmla="*/ 3048257 w 5413219"/>
              <a:gd name="connsiteY18" fmla="*/ 2555129 h 2885941"/>
              <a:gd name="connsiteX19" fmla="*/ 2735714 w 5413219"/>
              <a:gd name="connsiteY19" fmla="*/ 2622109 h 2885941"/>
              <a:gd name="connsiteX20" fmla="*/ 2469852 w 5413219"/>
              <a:gd name="connsiteY20" fmla="*/ 2534841 h 2885941"/>
              <a:gd name="connsiteX21" fmla="*/ 2362286 w 5413219"/>
              <a:gd name="connsiteY21" fmla="*/ 2309565 h 2885941"/>
              <a:gd name="connsiteX22" fmla="*/ 2431285 w 5413219"/>
              <a:gd name="connsiteY22" fmla="*/ 2082260 h 2885941"/>
              <a:gd name="connsiteX23" fmla="*/ 2601763 w 5413219"/>
              <a:gd name="connsiteY23" fmla="*/ 1944252 h 2885941"/>
              <a:gd name="connsiteX24" fmla="*/ 2912278 w 5413219"/>
              <a:gd name="connsiteY24" fmla="*/ 1865100 h 2885941"/>
              <a:gd name="connsiteX25" fmla="*/ 3368916 w 5413219"/>
              <a:gd name="connsiteY25" fmla="*/ 1846840 h 2885941"/>
              <a:gd name="connsiteX26" fmla="*/ 3368916 w 5413219"/>
              <a:gd name="connsiteY26" fmla="*/ 2094433 h 2885941"/>
              <a:gd name="connsiteX27" fmla="*/ 3705806 w 5413219"/>
              <a:gd name="connsiteY27" fmla="*/ 2609926 h 2885941"/>
              <a:gd name="connsiteX28" fmla="*/ 3697691 w 5413219"/>
              <a:gd name="connsiteY28" fmla="*/ 2329853 h 2885941"/>
              <a:gd name="connsiteX29" fmla="*/ 3701749 w 5413219"/>
              <a:gd name="connsiteY29" fmla="*/ 1416587 h 2885941"/>
              <a:gd name="connsiteX30" fmla="*/ 3496771 w 5413219"/>
              <a:gd name="connsiteY30" fmla="*/ 933564 h 2885941"/>
              <a:gd name="connsiteX31" fmla="*/ 2885894 w 5413219"/>
              <a:gd name="connsiteY31" fmla="*/ 754971 h 2885941"/>
              <a:gd name="connsiteX32" fmla="*/ 2311546 w 5413219"/>
              <a:gd name="connsiteY32" fmla="*/ 899065 h 2885941"/>
              <a:gd name="connsiteX33" fmla="*/ 2061915 w 5413219"/>
              <a:gd name="connsiteY33" fmla="*/ 1465298 h 2885941"/>
              <a:gd name="connsiteX34" fmla="*/ 2390699 w 5413219"/>
              <a:gd name="connsiteY34" fmla="*/ 1465298 h 2885941"/>
              <a:gd name="connsiteX35" fmla="*/ 2534793 w 5413219"/>
              <a:gd name="connsiteY35" fmla="*/ 1122312 h 2885941"/>
              <a:gd name="connsiteX36" fmla="*/ 2885894 w 5413219"/>
              <a:gd name="connsiteY36" fmla="*/ 1026928 h 2885941"/>
              <a:gd name="connsiteX37" fmla="*/ 3224822 w 5413219"/>
              <a:gd name="connsiteY37" fmla="*/ 1128399 h 2885941"/>
              <a:gd name="connsiteX38" fmla="*/ 3368916 w 5413219"/>
              <a:gd name="connsiteY38" fmla="*/ 1404414 h 2885941"/>
              <a:gd name="connsiteX39" fmla="*/ 3368916 w 5413219"/>
              <a:gd name="connsiteY39" fmla="*/ 1607354 h 2885941"/>
              <a:gd name="connsiteX40" fmla="*/ 3234966 w 5413219"/>
              <a:gd name="connsiteY40" fmla="*/ 1607354 h 2885941"/>
              <a:gd name="connsiteX41" fmla="*/ 2772242 w 5413219"/>
              <a:gd name="connsiteY41" fmla="*/ 1629680 h 2885941"/>
              <a:gd name="connsiteX42" fmla="*/ 2406929 w 5413219"/>
              <a:gd name="connsiteY42" fmla="*/ 1729131 h 2885941"/>
              <a:gd name="connsiteX43" fmla="*/ 2112655 w 5413219"/>
              <a:gd name="connsiteY43" fmla="*/ 1970637 h 2885941"/>
              <a:gd name="connsiteX44" fmla="*/ 2021329 w 5413219"/>
              <a:gd name="connsiteY44" fmla="*/ 2309565 h 2885941"/>
              <a:gd name="connsiteX45" fmla="*/ 2108597 w 5413219"/>
              <a:gd name="connsiteY45" fmla="*/ 2597753 h 2885941"/>
              <a:gd name="connsiteX46" fmla="*/ 2350113 w 5413219"/>
              <a:gd name="connsiteY46" fmla="*/ 2808818 h 2885941"/>
              <a:gd name="connsiteX47" fmla="*/ 2703243 w 5413219"/>
              <a:gd name="connsiteY47" fmla="*/ 2885942 h 2885941"/>
              <a:gd name="connsiteX48" fmla="*/ 3295850 w 5413219"/>
              <a:gd name="connsiteY48" fmla="*/ 2488159 h 2885941"/>
              <a:gd name="connsiteX49" fmla="*/ 3429800 w 5413219"/>
              <a:gd name="connsiteY49" fmla="*/ 2488159 h 2885941"/>
              <a:gd name="connsiteX50" fmla="*/ 3401387 w 5413219"/>
              <a:gd name="connsiteY50" fmla="*/ 2630224 h 2885941"/>
              <a:gd name="connsiteX51" fmla="*/ 3417618 w 5413219"/>
              <a:gd name="connsiteY51" fmla="*/ 2745905 h 2885941"/>
              <a:gd name="connsiteX52" fmla="*/ 3454156 w 5413219"/>
              <a:gd name="connsiteY52" fmla="*/ 2841289 h 2885941"/>
              <a:gd name="connsiteX53" fmla="*/ 3758574 w 5413219"/>
              <a:gd name="connsiteY53" fmla="*/ 2841289 h 2885941"/>
              <a:gd name="connsiteX54" fmla="*/ 3705806 w 5413219"/>
              <a:gd name="connsiteY54" fmla="*/ 2609926 h 2885941"/>
              <a:gd name="connsiteX55" fmla="*/ 2317680 w 5413219"/>
              <a:gd name="connsiteY55" fmla="*/ 0 h 2885941"/>
              <a:gd name="connsiteX56" fmla="*/ 0 w 5413219"/>
              <a:gd name="connsiteY56" fmla="*/ 0 h 2885941"/>
              <a:gd name="connsiteX57" fmla="*/ 0 w 5413219"/>
              <a:gd name="connsiteY57" fmla="*/ 316601 h 2885941"/>
              <a:gd name="connsiteX58" fmla="*/ 982275 w 5413219"/>
              <a:gd name="connsiteY58" fmla="*/ 316601 h 2885941"/>
              <a:gd name="connsiteX59" fmla="*/ 982275 w 5413219"/>
              <a:gd name="connsiteY59" fmla="*/ 2841289 h 2885941"/>
              <a:gd name="connsiteX60" fmla="*/ 1343520 w 5413219"/>
              <a:gd name="connsiteY60" fmla="*/ 2841289 h 2885941"/>
              <a:gd name="connsiteX61" fmla="*/ 1343520 w 5413219"/>
              <a:gd name="connsiteY61" fmla="*/ 316601 h 2885941"/>
              <a:gd name="connsiteX62" fmla="*/ 2317680 w 5413219"/>
              <a:gd name="connsiteY62" fmla="*/ 316601 h 2885941"/>
              <a:gd name="connsiteX63" fmla="*/ 2317680 w 5413219"/>
              <a:gd name="connsiteY63" fmla="*/ 0 h 2885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5413219" h="2885941">
                <a:moveTo>
                  <a:pt x="5413220" y="2133562"/>
                </a:moveTo>
                <a:lnTo>
                  <a:pt x="5016837" y="1607353"/>
                </a:lnTo>
                <a:lnTo>
                  <a:pt x="5413220" y="1262062"/>
                </a:lnTo>
                <a:lnTo>
                  <a:pt x="5413220" y="896902"/>
                </a:lnTo>
                <a:lnTo>
                  <a:pt x="4399874" y="1769716"/>
                </a:lnTo>
                <a:lnTo>
                  <a:pt x="4306510" y="1688535"/>
                </a:lnTo>
                <a:cubicBezTo>
                  <a:pt x="4366003" y="1615478"/>
                  <a:pt x="4403227" y="1522123"/>
                  <a:pt x="4418133" y="1408471"/>
                </a:cubicBezTo>
                <a:cubicBezTo>
                  <a:pt x="4432974" y="1294819"/>
                  <a:pt x="4440460" y="1136513"/>
                  <a:pt x="4440460" y="933564"/>
                </a:cubicBezTo>
                <a:lnTo>
                  <a:pt x="4440460" y="0"/>
                </a:lnTo>
                <a:lnTo>
                  <a:pt x="4111685" y="0"/>
                </a:lnTo>
                <a:lnTo>
                  <a:pt x="4111685" y="2841289"/>
                </a:lnTo>
                <a:lnTo>
                  <a:pt x="4440460" y="2841289"/>
                </a:lnTo>
                <a:lnTo>
                  <a:pt x="4440460" y="2118789"/>
                </a:lnTo>
                <a:lnTo>
                  <a:pt x="4777360" y="1822485"/>
                </a:lnTo>
                <a:lnTo>
                  <a:pt x="5413220" y="2645178"/>
                </a:lnTo>
                <a:lnTo>
                  <a:pt x="5413220" y="2133562"/>
                </a:lnTo>
                <a:close/>
                <a:moveTo>
                  <a:pt x="3368916" y="2094433"/>
                </a:moveTo>
                <a:cubicBezTo>
                  <a:pt x="3368916" y="2194579"/>
                  <a:pt x="3339799" y="2285210"/>
                  <a:pt x="3281648" y="2366391"/>
                </a:cubicBezTo>
                <a:cubicBezTo>
                  <a:pt x="3223422" y="2447563"/>
                  <a:pt x="3145669" y="2510485"/>
                  <a:pt x="3048257" y="2555129"/>
                </a:cubicBezTo>
                <a:cubicBezTo>
                  <a:pt x="2950836" y="2599782"/>
                  <a:pt x="2846632" y="2622109"/>
                  <a:pt x="2735714" y="2622109"/>
                </a:cubicBezTo>
                <a:cubicBezTo>
                  <a:pt x="2630177" y="2622109"/>
                  <a:pt x="2541518" y="2593058"/>
                  <a:pt x="2469852" y="2534841"/>
                </a:cubicBezTo>
                <a:cubicBezTo>
                  <a:pt x="2398119" y="2476681"/>
                  <a:pt x="2362286" y="2401586"/>
                  <a:pt x="2362286" y="2309565"/>
                </a:cubicBezTo>
                <a:cubicBezTo>
                  <a:pt x="2362286" y="2220268"/>
                  <a:pt x="2385241" y="2144535"/>
                  <a:pt x="2431285" y="2082260"/>
                </a:cubicBezTo>
                <a:cubicBezTo>
                  <a:pt x="2477272" y="2020043"/>
                  <a:pt x="2534098" y="1974066"/>
                  <a:pt x="2601763" y="1944252"/>
                </a:cubicBezTo>
                <a:cubicBezTo>
                  <a:pt x="2693727" y="1903666"/>
                  <a:pt x="2797226" y="1877282"/>
                  <a:pt x="2912278" y="1865100"/>
                </a:cubicBezTo>
                <a:cubicBezTo>
                  <a:pt x="3027264" y="1852927"/>
                  <a:pt x="3179474" y="1846840"/>
                  <a:pt x="3368916" y="1846840"/>
                </a:cubicBezTo>
                <a:lnTo>
                  <a:pt x="3368916" y="2094433"/>
                </a:lnTo>
                <a:close/>
                <a:moveTo>
                  <a:pt x="3705806" y="2609926"/>
                </a:moveTo>
                <a:cubicBezTo>
                  <a:pt x="3700358" y="2531478"/>
                  <a:pt x="3697691" y="2438115"/>
                  <a:pt x="3697691" y="2329853"/>
                </a:cubicBezTo>
                <a:lnTo>
                  <a:pt x="3701749" y="1416587"/>
                </a:lnTo>
                <a:cubicBezTo>
                  <a:pt x="3701749" y="1213637"/>
                  <a:pt x="3633378" y="1052674"/>
                  <a:pt x="3496771" y="933564"/>
                </a:cubicBezTo>
                <a:cubicBezTo>
                  <a:pt x="3360096" y="814521"/>
                  <a:pt x="3156452" y="754971"/>
                  <a:pt x="2885894" y="754971"/>
                </a:cubicBezTo>
                <a:cubicBezTo>
                  <a:pt x="2669372" y="754971"/>
                  <a:pt x="2477967" y="803043"/>
                  <a:pt x="2311546" y="899065"/>
                </a:cubicBezTo>
                <a:cubicBezTo>
                  <a:pt x="2145125" y="995153"/>
                  <a:pt x="2061915" y="1183891"/>
                  <a:pt x="2061915" y="1465298"/>
                </a:cubicBezTo>
                <a:lnTo>
                  <a:pt x="2390699" y="1465298"/>
                </a:lnTo>
                <a:cubicBezTo>
                  <a:pt x="2390699" y="1300267"/>
                  <a:pt x="2438705" y="1185920"/>
                  <a:pt x="2534793" y="1122312"/>
                </a:cubicBezTo>
                <a:cubicBezTo>
                  <a:pt x="2630815" y="1058761"/>
                  <a:pt x="2747886" y="1026928"/>
                  <a:pt x="2885894" y="1026928"/>
                </a:cubicBezTo>
                <a:cubicBezTo>
                  <a:pt x="3015777" y="1026928"/>
                  <a:pt x="3128734" y="1060790"/>
                  <a:pt x="3224822" y="1128399"/>
                </a:cubicBezTo>
                <a:cubicBezTo>
                  <a:pt x="3320844" y="1196073"/>
                  <a:pt x="3368916" y="1288095"/>
                  <a:pt x="3368916" y="1404414"/>
                </a:cubicBezTo>
                <a:lnTo>
                  <a:pt x="3368916" y="1607354"/>
                </a:lnTo>
                <a:lnTo>
                  <a:pt x="3234966" y="1607354"/>
                </a:lnTo>
                <a:cubicBezTo>
                  <a:pt x="3042800" y="1607354"/>
                  <a:pt x="2888561" y="1614840"/>
                  <a:pt x="2772242" y="1629680"/>
                </a:cubicBezTo>
                <a:cubicBezTo>
                  <a:pt x="2655865" y="1644587"/>
                  <a:pt x="2534098" y="1677753"/>
                  <a:pt x="2406929" y="1729131"/>
                </a:cubicBezTo>
                <a:cubicBezTo>
                  <a:pt x="2271589" y="1785957"/>
                  <a:pt x="2173538" y="1866500"/>
                  <a:pt x="2112655" y="1970637"/>
                </a:cubicBezTo>
                <a:cubicBezTo>
                  <a:pt x="2051771" y="2074840"/>
                  <a:pt x="2021329" y="2187798"/>
                  <a:pt x="2021329" y="2309565"/>
                </a:cubicBezTo>
                <a:cubicBezTo>
                  <a:pt x="2021329" y="2412435"/>
                  <a:pt x="2050380" y="2508457"/>
                  <a:pt x="2108597" y="2597753"/>
                </a:cubicBezTo>
                <a:cubicBezTo>
                  <a:pt x="2166757" y="2687050"/>
                  <a:pt x="2247233" y="2757450"/>
                  <a:pt x="2350113" y="2808818"/>
                </a:cubicBezTo>
                <a:cubicBezTo>
                  <a:pt x="2452916" y="2860187"/>
                  <a:pt x="2570626" y="2885942"/>
                  <a:pt x="2703243" y="2885942"/>
                </a:cubicBezTo>
                <a:cubicBezTo>
                  <a:pt x="3003604" y="2885942"/>
                  <a:pt x="3201095" y="2753382"/>
                  <a:pt x="3295850" y="2488159"/>
                </a:cubicBezTo>
                <a:lnTo>
                  <a:pt x="3429800" y="2488159"/>
                </a:lnTo>
                <a:cubicBezTo>
                  <a:pt x="3410836" y="2526087"/>
                  <a:pt x="3401387" y="2573398"/>
                  <a:pt x="3401387" y="2630224"/>
                </a:cubicBezTo>
                <a:cubicBezTo>
                  <a:pt x="3401387" y="2668153"/>
                  <a:pt x="3406779" y="2706710"/>
                  <a:pt x="3417618" y="2745905"/>
                </a:cubicBezTo>
                <a:cubicBezTo>
                  <a:pt x="3428400" y="2785158"/>
                  <a:pt x="3440583" y="2816933"/>
                  <a:pt x="3454156" y="2841289"/>
                </a:cubicBezTo>
                <a:lnTo>
                  <a:pt x="3758574" y="2841289"/>
                </a:lnTo>
                <a:cubicBezTo>
                  <a:pt x="3728771" y="2765565"/>
                  <a:pt x="3711197" y="2688441"/>
                  <a:pt x="3705806" y="2609926"/>
                </a:cubicBezTo>
                <a:moveTo>
                  <a:pt x="2317680" y="0"/>
                </a:moveTo>
                <a:lnTo>
                  <a:pt x="0" y="0"/>
                </a:lnTo>
                <a:lnTo>
                  <a:pt x="0" y="316601"/>
                </a:lnTo>
                <a:lnTo>
                  <a:pt x="982275" y="316601"/>
                </a:lnTo>
                <a:lnTo>
                  <a:pt x="982275" y="2841289"/>
                </a:lnTo>
                <a:lnTo>
                  <a:pt x="1343520" y="2841289"/>
                </a:lnTo>
                <a:lnTo>
                  <a:pt x="1343520" y="316601"/>
                </a:lnTo>
                <a:lnTo>
                  <a:pt x="2317680" y="316601"/>
                </a:lnTo>
                <a:lnTo>
                  <a:pt x="2317680" y="0"/>
                </a:lnTo>
                <a:close/>
              </a:path>
            </a:pathLst>
          </a:custGeom>
          <a:solidFill>
            <a:srgbClr val="A1B0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07C85420-B78F-067C-EF93-F88ACB3CE67F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A1B0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A1B0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A1B0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022338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- Juniper - Editable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 hidden="1">
            <a:extLst>
              <a:ext uri="{FF2B5EF4-FFF2-40B4-BE49-F238E27FC236}">
                <a16:creationId xmlns:a16="http://schemas.microsoft.com/office/drawing/2014/main" id="{B364878B-522F-3D86-713B-2A76AB07E3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0CD2401D-F298-7770-6D7F-D7FFB4EC3B7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A353420-24B1-83B9-FA32-B172FBBB0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E221AB-8D55-929B-E811-23A2F81742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91600"/>
            <a:ext cx="12181898" cy="5244513"/>
          </a:xfrm>
        </p:spPr>
        <p:txBody>
          <a:bodyPr wrap="square">
            <a:spAutoFit/>
          </a:bodyPr>
          <a:lstStyle>
            <a:lvl1pPr marL="0" indent="0" algn="r">
              <a:lnSpc>
                <a:spcPct val="80000"/>
              </a:lnSpc>
              <a:buNone/>
              <a:defRPr sz="42600" spc="-300" baseline="0">
                <a:solidFill>
                  <a:srgbClr val="A1B0FF"/>
                </a:solidFill>
                <a:latin typeface="+mj-lt"/>
              </a:defRPr>
            </a:lvl1pPr>
            <a:lvl2pPr marL="216000" indent="0">
              <a:buNone/>
              <a:defRPr>
                <a:solidFill>
                  <a:srgbClr val="BFE6C4"/>
                </a:solidFill>
              </a:defRPr>
            </a:lvl2pPr>
            <a:lvl3pPr marL="432000" indent="0">
              <a:buNone/>
              <a:defRPr>
                <a:solidFill>
                  <a:srgbClr val="BFE6C4"/>
                </a:solidFill>
              </a:defRPr>
            </a:lvl3pPr>
            <a:lvl4pPr marL="648000" indent="0">
              <a:buNone/>
              <a:defRPr>
                <a:solidFill>
                  <a:srgbClr val="BFE6C4"/>
                </a:solidFill>
              </a:defRPr>
            </a:lvl4pPr>
            <a:lvl5pPr marL="864000" indent="0">
              <a:buNone/>
              <a:defRPr>
                <a:solidFill>
                  <a:srgbClr val="BFE6C4"/>
                </a:solidFill>
              </a:defRPr>
            </a:lvl5pPr>
          </a:lstStyle>
          <a:p>
            <a:pPr lvl="0"/>
            <a:r>
              <a:rPr lang="da-DK" dirty="0" err="1"/>
              <a:t>Txt</a:t>
            </a:r>
            <a:endParaRPr lang="en-GB" dirty="0"/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11DFD78C-5069-38A4-C2D4-F6A49643C4CC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A1B0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A1B0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A1B0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116340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Juniper - Editable">
    <p:bg>
      <p:bgPr>
        <a:solidFill>
          <a:srgbClr val="263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8" hidden="1">
            <a:extLst>
              <a:ext uri="{FF2B5EF4-FFF2-40B4-BE49-F238E27FC236}">
                <a16:creationId xmlns:a16="http://schemas.microsoft.com/office/drawing/2014/main" id="{FCC563B6-6107-77E5-E346-EB49B7D2191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10" hidden="1">
            <a:extLst>
              <a:ext uri="{FF2B5EF4-FFF2-40B4-BE49-F238E27FC236}">
                <a16:creationId xmlns:a16="http://schemas.microsoft.com/office/drawing/2014/main" id="{4E15B192-88D0-881D-028F-0BE9933953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5D702BBF-076C-400D-522E-DD74A4712C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47200" y="460370"/>
            <a:ext cx="1276769" cy="16172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9E8CC49-75A7-E702-5407-88B4FE308D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5702400"/>
            <a:ext cx="3606800" cy="793763"/>
          </a:xfrm>
        </p:spPr>
        <p:txBody>
          <a:bodyPr anchor="b" anchorCtr="0"/>
          <a:lstStyle>
            <a:lvl1pPr marL="0" indent="0">
              <a:buNone/>
              <a:defRPr sz="1200">
                <a:solidFill>
                  <a:srgbClr val="A1B0FF"/>
                </a:solidFill>
              </a:defRPr>
            </a:lvl1pPr>
            <a:lvl2pPr marL="216000" indent="0">
              <a:buNone/>
              <a:defRPr sz="1200">
                <a:solidFill>
                  <a:srgbClr val="BFE6C4"/>
                </a:solidFill>
              </a:defRPr>
            </a:lvl2pPr>
            <a:lvl3pPr marL="432000" indent="0">
              <a:buNone/>
              <a:defRPr sz="1200">
                <a:solidFill>
                  <a:srgbClr val="BFE6C4"/>
                </a:solidFill>
              </a:defRPr>
            </a:lvl3pPr>
            <a:lvl4pPr marL="648000" indent="0">
              <a:buNone/>
              <a:defRPr sz="1200">
                <a:solidFill>
                  <a:srgbClr val="BFE6C4"/>
                </a:solidFill>
              </a:defRPr>
            </a:lvl4pPr>
            <a:lvl5pPr marL="864000" indent="0">
              <a:buNone/>
              <a:defRPr sz="1200">
                <a:solidFill>
                  <a:srgbClr val="BFE6C4"/>
                </a:solidFill>
              </a:defRPr>
            </a:lvl5pPr>
          </a:lstStyle>
          <a:p>
            <a:pPr lvl="0"/>
            <a:r>
              <a:rPr lang="en-GB" dirty="0" err="1"/>
              <a:t>Novonesis</a:t>
            </a:r>
            <a:r>
              <a:rPr lang="en-GB" dirty="0"/>
              <a:t> (in bold font)                                                                 Address line 1                                                             Address line 2                                                                  Denmark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DFEA9122-C445-F29B-6FD7-D9EABBBB5077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A1B0FF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A1B0FF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A1B0FF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756551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176;p24">
            <a:extLst>
              <a:ext uri="{FF2B5EF4-FFF2-40B4-BE49-F238E27FC236}">
                <a16:creationId xmlns:a16="http://schemas.microsoft.com/office/drawing/2014/main" id="{8E553BF7-DDAE-45AC-E56F-7AD573898E3F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-4880"/>
            <a:ext cx="6650399" cy="709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974C35-0E6A-9871-3F9B-918657F384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3375" y="940501"/>
            <a:ext cx="11538574" cy="659700"/>
          </a:xfrm>
        </p:spPr>
        <p:txBody>
          <a:bodyPr anchor="t"/>
          <a:lstStyle>
            <a:lvl1pPr>
              <a:defRPr sz="4000" b="1" i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INSERT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4816914-692B-FDD5-46B0-71FBC45C56E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3374" y="1990725"/>
            <a:ext cx="11538574" cy="4186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2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INSERT</a:t>
            </a:r>
            <a:endParaRPr lang="en-US"/>
          </a:p>
        </p:txBody>
      </p:sp>
      <p:pic>
        <p:nvPicPr>
          <p:cNvPr id="5" name="Picture 4" descr="A close-up of words&#10;&#10;AI-generated content may be incorrect.">
            <a:extLst>
              <a:ext uri="{FF2B5EF4-FFF2-40B4-BE49-F238E27FC236}">
                <a16:creationId xmlns:a16="http://schemas.microsoft.com/office/drawing/2014/main" id="{B5B05095-7E6A-7EB7-F539-AD0842DA731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r="2788"/>
          <a:stretch>
            <a:fillRect/>
          </a:stretch>
        </p:blipFill>
        <p:spPr>
          <a:xfrm>
            <a:off x="8943975" y="83591"/>
            <a:ext cx="2952000" cy="7317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CC47821-9F09-15AC-9C07-FC47A57464AF}"/>
              </a:ext>
            </a:extLst>
          </p:cNvPr>
          <p:cNvSpPr txBox="1"/>
          <p:nvPr userDrawn="1"/>
        </p:nvSpPr>
        <p:spPr>
          <a:xfrm>
            <a:off x="257175" y="6382821"/>
            <a:ext cx="1876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#ActionOverNoi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272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black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4400" b="0" noProof="0" dirty="0">
                <a:solidFill>
                  <a:schemeClr val="bg1"/>
                </a:solidFill>
              </a:rPr>
              <a:t>If you see any </a:t>
            </a:r>
            <a:r>
              <a:rPr lang="en-US" sz="4400" b="1" i="1" noProof="0" dirty="0">
                <a:solidFill>
                  <a:schemeClr val="bg1"/>
                </a:solidFill>
              </a:rPr>
              <a:t>layouts after this one,</a:t>
            </a:r>
            <a:br>
              <a:rPr lang="en-US" sz="4400" b="0" i="0" noProof="0" dirty="0">
                <a:solidFill>
                  <a:schemeClr val="bg1"/>
                </a:solidFill>
              </a:rPr>
            </a:br>
            <a:r>
              <a:rPr lang="en-US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US" sz="4400" b="1" i="1" u="none" noProof="0" dirty="0">
                <a:solidFill>
                  <a:schemeClr val="bg1"/>
                </a:solidFill>
              </a:rPr>
              <a:t>are not </a:t>
            </a:r>
            <a:br>
              <a:rPr lang="en-US" sz="4400" b="1" i="1" u="none" noProof="0" dirty="0">
                <a:solidFill>
                  <a:schemeClr val="bg1"/>
                </a:solidFill>
              </a:rPr>
            </a:br>
            <a:r>
              <a:rPr lang="en-US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US" sz="2800" b="0" noProof="0" dirty="0">
                <a:solidFill>
                  <a:schemeClr val="bg1"/>
                </a:solidFill>
              </a:rPr>
            </a:br>
            <a:br>
              <a:rPr lang="en-US" sz="2800" b="0" noProof="0" dirty="0">
                <a:solidFill>
                  <a:schemeClr val="bg1"/>
                </a:solidFill>
              </a:rPr>
            </a:br>
            <a:endParaRPr lang="en-US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800" b="1" i="1" noProof="0" dirty="0">
                <a:solidFill>
                  <a:schemeClr val="bg1"/>
                </a:solidFill>
              </a:rPr>
              <a:t>Do not use </a:t>
            </a:r>
            <a:endParaRPr lang="en-US" sz="2400" b="1" i="1" noProof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US" sz="1800" b="0" noProof="0" dirty="0">
                <a:solidFill>
                  <a:schemeClr val="bg1"/>
                </a:solidFill>
              </a:rPr>
            </a:br>
            <a:endParaRPr lang="en-US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700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 x content - Sand">
    <p:bg>
      <p:bgPr>
        <a:solidFill>
          <a:srgbClr val="FF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D8A9E-9638-C71F-CB8F-4E16DB0C6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A2828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F8D94-A388-46C3-0C48-D76A83B61F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3A28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F51E3-AC28-6182-0248-C07BD511F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FF5015-F8CB-666B-71B8-1FD73D5CE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A2828"/>
                </a:solidFill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0D5198A-3800-D0B3-184A-F7D437A2F4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313" y="1808163"/>
            <a:ext cx="5513387" cy="4186238"/>
          </a:xfrm>
        </p:spPr>
        <p:txBody>
          <a:bodyPr/>
          <a:lstStyle>
            <a:lvl1pPr>
              <a:defRPr>
                <a:solidFill>
                  <a:srgbClr val="3A2828"/>
                </a:solidFill>
              </a:defRPr>
            </a:lvl1pPr>
            <a:lvl2pPr>
              <a:defRPr>
                <a:solidFill>
                  <a:srgbClr val="3A2828"/>
                </a:solidFill>
              </a:defRPr>
            </a:lvl2pPr>
            <a:lvl3pPr>
              <a:defRPr>
                <a:solidFill>
                  <a:srgbClr val="3A2828"/>
                </a:solidFill>
              </a:defRPr>
            </a:lvl3pPr>
            <a:lvl4pPr>
              <a:defRPr>
                <a:solidFill>
                  <a:srgbClr val="3A2828"/>
                </a:solidFill>
              </a:defRPr>
            </a:lvl4pPr>
            <a:lvl5pPr>
              <a:defRPr>
                <a:solidFill>
                  <a:srgbClr val="3A2828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75177972-E5EA-DC88-1410-152E9CC757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21413" y="1808163"/>
            <a:ext cx="5513387" cy="4186238"/>
          </a:xfrm>
        </p:spPr>
        <p:txBody>
          <a:bodyPr/>
          <a:lstStyle>
            <a:lvl1pPr>
              <a:defRPr>
                <a:solidFill>
                  <a:srgbClr val="3A2828"/>
                </a:solidFill>
              </a:defRPr>
            </a:lvl1pPr>
            <a:lvl2pPr>
              <a:defRPr>
                <a:solidFill>
                  <a:srgbClr val="3A2828"/>
                </a:solidFill>
              </a:defRPr>
            </a:lvl2pPr>
            <a:lvl3pPr>
              <a:defRPr>
                <a:solidFill>
                  <a:srgbClr val="3A2828"/>
                </a:solidFill>
              </a:defRPr>
            </a:lvl3pPr>
            <a:lvl4pPr>
              <a:defRPr>
                <a:solidFill>
                  <a:srgbClr val="3A2828"/>
                </a:solidFill>
              </a:defRPr>
            </a:lvl4pPr>
            <a:lvl5pPr>
              <a:defRPr>
                <a:solidFill>
                  <a:srgbClr val="3A2828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96C3AD81-1E76-656D-3D1D-E112F94123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2400" y="6350729"/>
            <a:ext cx="982876" cy="124498"/>
          </a:xfrm>
          <a:prstGeom prst="rect">
            <a:avLst/>
          </a:prstGeom>
        </p:spPr>
      </p:pic>
      <p:sp>
        <p:nvSpPr>
          <p:cNvPr id="3" name="Copyright">
            <a:extLst>
              <a:ext uri="{FF2B5EF4-FFF2-40B4-BE49-F238E27FC236}">
                <a16:creationId xmlns:a16="http://schemas.microsoft.com/office/drawing/2014/main" id="{D8301277-1FEF-9CAC-8A41-6EDFC9B42331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3A2828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rgbClr val="3A2828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rgbClr val="3A2828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5730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84800"/>
            <a:ext cx="4594538" cy="658800"/>
          </a:xfr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9CB2900-7125-5E39-99EA-B398AE9656A4}"/>
              </a:ext>
            </a:extLst>
          </p:cNvPr>
          <p:cNvSpPr>
            <a:spLocks noGrp="1"/>
          </p:cNvSpPr>
          <p:nvPr>
            <p:ph type="subTitle" idx="101" hasCustomPrompt="1"/>
          </p:nvPr>
        </p:nvSpPr>
        <p:spPr>
          <a:xfrm>
            <a:off x="6181723" y="784800"/>
            <a:ext cx="5544000" cy="6588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/>
            </a:lvl1pPr>
            <a:lvl2pPr marL="0" indent="0" algn="l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0"/>
            </a:lvl3pPr>
            <a:lvl4pPr marL="0" indent="0" algn="l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0"/>
            </a:lvl4pPr>
            <a:lvl5pPr marL="0" indent="0" algn="l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0"/>
            </a:lvl5pPr>
            <a:lvl6pPr marL="0" indent="0" algn="l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0"/>
            </a:lvl6pPr>
            <a:lvl7pPr marL="0" indent="0" algn="l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0"/>
            </a:lvl7pPr>
            <a:lvl8pPr marL="0" indent="0" algn="l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0"/>
            </a:lvl8pPr>
            <a:lvl9pPr marL="0" indent="0" algn="l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8000" y="1861200"/>
            <a:ext cx="5545450" cy="3898800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lnSpc>
                <a:spcPct val="120000"/>
              </a:lnSpc>
              <a:spcAft>
                <a:spcPts val="0"/>
              </a:spcAft>
              <a:defRPr sz="1200"/>
            </a:lvl6pPr>
            <a:lvl7pPr>
              <a:lnSpc>
                <a:spcPct val="120000"/>
              </a:lnSpc>
              <a:spcAft>
                <a:spcPts val="0"/>
              </a:spcAft>
              <a:defRPr sz="1200"/>
            </a:lvl7pPr>
            <a:lvl8pPr>
              <a:lnSpc>
                <a:spcPct val="120000"/>
              </a:lnSpc>
              <a:spcAft>
                <a:spcPts val="0"/>
              </a:spcAft>
              <a:defRPr sz="1200"/>
            </a:lvl8pPr>
          </a:lstStyle>
          <a:p>
            <a:pPr lvl="0"/>
            <a:r>
              <a:rPr lang="en-US" noProof="0" dirty="0"/>
              <a:t>Click to add text                                                                                Press ENTER then TAB to view next text style                            Press SHIFT+TAB to view previous text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 level</a:t>
            </a:r>
          </a:p>
          <a:p>
            <a:pPr lvl="6"/>
            <a:r>
              <a:rPr lang="en-US" noProof="0" dirty="0"/>
              <a:t>7 level</a:t>
            </a:r>
          </a:p>
          <a:p>
            <a:pPr lvl="7"/>
            <a:r>
              <a:rPr lang="en-US" noProof="0" dirty="0"/>
              <a:t>8 level</a:t>
            </a:r>
          </a:p>
          <a:p>
            <a:pPr lvl="8"/>
            <a:r>
              <a:rPr lang="en-US" noProof="0" dirty="0"/>
              <a:t>9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81723" y="1861200"/>
            <a:ext cx="5544000" cy="3898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text                                                                       Press ENTER then TAB to view next text style                          Press SHIFT+TAB to view previous text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 level</a:t>
            </a:r>
          </a:p>
          <a:p>
            <a:pPr lvl="6"/>
            <a:r>
              <a:rPr lang="en-US" noProof="0" dirty="0"/>
              <a:t>7 level</a:t>
            </a:r>
          </a:p>
          <a:p>
            <a:pPr lvl="7"/>
            <a:r>
              <a:rPr lang="en-US" noProof="0" dirty="0"/>
              <a:t>8 level</a:t>
            </a:r>
          </a:p>
          <a:p>
            <a:pPr lvl="8"/>
            <a:r>
              <a:rPr lang="en-US" noProof="0" dirty="0"/>
              <a:t>9 level</a:t>
            </a:r>
          </a:p>
        </p:txBody>
      </p:sp>
      <p:sp>
        <p:nvSpPr>
          <p:cNvPr id="100" name="Text Placeholder notes">
            <a:extLst>
              <a:ext uri="{FF2B5EF4-FFF2-40B4-BE49-F238E27FC236}">
                <a16:creationId xmlns:a16="http://schemas.microsoft.com/office/drawing/2014/main" id="{1D1DF0D1-2E7D-232A-7D68-BE7088CC988F}"/>
              </a:ext>
            </a:extLst>
          </p:cNvPr>
          <p:cNvSpPr>
            <a:spLocks noGrp="1"/>
          </p:cNvSpPr>
          <p:nvPr>
            <p:ph type="ctrTitle" sz="quarter" idx="100" hasCustomPrompt="1"/>
          </p:nvPr>
        </p:nvSpPr>
        <p:spPr>
          <a:xfrm>
            <a:off x="466726" y="5914800"/>
            <a:ext cx="11264400" cy="144000"/>
          </a:xfrm>
        </p:spPr>
        <p:txBody>
          <a:bodyPr bIns="0" anchor="b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 i="0"/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/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/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/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/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/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/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/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/>
            </a:lvl9pPr>
          </a:lstStyle>
          <a:p>
            <a:pPr lvl="0"/>
            <a:r>
              <a:rPr lang="en-US" dirty="0"/>
              <a:t>Click to add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B49660F-B2FB-4041-2653-C61DAA5A1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87CE0-525D-4B63-8A1B-0D17037283EA}" type="datetime4">
              <a:rPr lang="en-US" smtClean="0"/>
              <a:t>March 25, 2026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D8EA3FD-C1FD-6A92-B851-3CA9A5AC7C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38DC114-746C-3747-B023-3D61439FC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609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70">
          <p15:clr>
            <a:srgbClr val="A4A3A4"/>
          </p15:clr>
        </p15:guide>
        <p15:guide id="4" orient="horz" pos="494">
          <p15:clr>
            <a:srgbClr val="A4A3A4"/>
          </p15:clr>
        </p15:guide>
        <p15:guide id="5" orient="horz" pos="909">
          <p15:clr>
            <a:srgbClr val="A4A3A4"/>
          </p15:clr>
        </p15:guide>
        <p15:guide id="6" orient="horz" pos="3628">
          <p15:clr>
            <a:srgbClr val="A4A3A4"/>
          </p15:clr>
        </p15:guide>
        <p15:guide id="7" orient="horz" pos="3816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63;p13">
            <a:extLst>
              <a:ext uri="{FF2B5EF4-FFF2-40B4-BE49-F238E27FC236}">
                <a16:creationId xmlns:a16="http://schemas.microsoft.com/office/drawing/2014/main" id="{852A5B6C-B5D1-92F5-513E-DA8E8ACCB1C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25211"/>
          <a:stretch/>
        </p:blipFill>
        <p:spPr>
          <a:xfrm>
            <a:off x="0" y="-3"/>
            <a:ext cx="9144003" cy="73797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BEBA17-45D5-9128-E1A4-6AA98EEAA2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3850" y="940501"/>
            <a:ext cx="11548099" cy="659700"/>
          </a:xfrm>
        </p:spPr>
        <p:txBody>
          <a:bodyPr anchor="t"/>
          <a:lstStyle>
            <a:lvl1pPr>
              <a:defRPr sz="4000" b="1" i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INSERT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CD33646-EFF4-C712-3ACE-91492D7E01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4975" y="1990725"/>
            <a:ext cx="11548099" cy="4186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INSERT</a:t>
            </a:r>
            <a:endParaRPr lang="en-US"/>
          </a:p>
        </p:txBody>
      </p:sp>
      <p:pic>
        <p:nvPicPr>
          <p:cNvPr id="5" name="Picture 4" descr="A close-up of words&#10;&#10;AI-generated content may be incorrect.">
            <a:extLst>
              <a:ext uri="{FF2B5EF4-FFF2-40B4-BE49-F238E27FC236}">
                <a16:creationId xmlns:a16="http://schemas.microsoft.com/office/drawing/2014/main" id="{95D342EB-5B47-CE9C-E94E-FDE684C53D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r="2788"/>
          <a:stretch>
            <a:fillRect/>
          </a:stretch>
        </p:blipFill>
        <p:spPr>
          <a:xfrm>
            <a:off x="8943975" y="83591"/>
            <a:ext cx="2952000" cy="73176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289DDA7-500D-0197-2112-71F3518915F8}"/>
              </a:ext>
            </a:extLst>
          </p:cNvPr>
          <p:cNvSpPr txBox="1"/>
          <p:nvPr userDrawn="1"/>
        </p:nvSpPr>
        <p:spPr>
          <a:xfrm>
            <a:off x="257175" y="6382821"/>
            <a:ext cx="1876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#ActionOverNoi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7039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68;p14">
            <a:extLst>
              <a:ext uri="{FF2B5EF4-FFF2-40B4-BE49-F238E27FC236}">
                <a16:creationId xmlns:a16="http://schemas.microsoft.com/office/drawing/2014/main" id="{55C58C2B-2454-BB32-EB5B-8EEFFD7A0C0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l="47462" t="9781" b="9449"/>
          <a:stretch/>
        </p:blipFill>
        <p:spPr>
          <a:xfrm flipH="1">
            <a:off x="7439024" y="0"/>
            <a:ext cx="475297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86;p16">
            <a:extLst>
              <a:ext uri="{FF2B5EF4-FFF2-40B4-BE49-F238E27FC236}">
                <a16:creationId xmlns:a16="http://schemas.microsoft.com/office/drawing/2014/main" id="{25BE682B-6C23-5408-6FC4-7B6DC3939DD1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342900" y="1273875"/>
            <a:ext cx="7172325" cy="2729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>
              <a:defRPr/>
            </a:lvl1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[INSERT SESSION TITLE]</a:t>
            </a:r>
            <a:br>
              <a:rPr lang="en-GB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3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[INSERT SUB TITLE]</a:t>
            </a:r>
          </a:p>
        </p:txBody>
      </p:sp>
      <p:pic>
        <p:nvPicPr>
          <p:cNvPr id="5" name="Picture 4" descr="A close-up of words&#10;&#10;AI-generated content may be incorrect.">
            <a:extLst>
              <a:ext uri="{FF2B5EF4-FFF2-40B4-BE49-F238E27FC236}">
                <a16:creationId xmlns:a16="http://schemas.microsoft.com/office/drawing/2014/main" id="{A2BD176A-8513-209F-FC6C-039E780A22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r="2788"/>
          <a:stretch>
            <a:fillRect/>
          </a:stretch>
        </p:blipFill>
        <p:spPr>
          <a:xfrm>
            <a:off x="342900" y="74066"/>
            <a:ext cx="2952000" cy="73176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E947803-7EB9-2EFC-3107-BED76097B76C}"/>
              </a:ext>
            </a:extLst>
          </p:cNvPr>
          <p:cNvSpPr txBox="1"/>
          <p:nvPr userDrawn="1"/>
        </p:nvSpPr>
        <p:spPr>
          <a:xfrm>
            <a:off x="257175" y="6382821"/>
            <a:ext cx="1876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#ActionOverNoi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767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2ACB76B-A1AA-2B0A-8A62-8E3F4991FC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940501"/>
            <a:ext cx="11529049" cy="659700"/>
          </a:xfrm>
        </p:spPr>
        <p:txBody>
          <a:bodyPr anchor="t"/>
          <a:lstStyle>
            <a:lvl1pPr>
              <a:defRPr sz="4000" b="1" i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INSERT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86A4F65-F08B-F9C3-D6E5-60A994E8979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025" y="1990725"/>
            <a:ext cx="11529049" cy="4186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2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INSERT</a:t>
            </a:r>
            <a:endParaRPr lang="en-US"/>
          </a:p>
        </p:txBody>
      </p:sp>
      <p:pic>
        <p:nvPicPr>
          <p:cNvPr id="3" name="Picture 2" descr="A close-up of words&#10;&#10;AI-generated content may be incorrect.">
            <a:extLst>
              <a:ext uri="{FF2B5EF4-FFF2-40B4-BE49-F238E27FC236}">
                <a16:creationId xmlns:a16="http://schemas.microsoft.com/office/drawing/2014/main" id="{036EC13A-9107-94DA-79D2-6504F21344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r="2788"/>
          <a:stretch>
            <a:fillRect/>
          </a:stretch>
        </p:blipFill>
        <p:spPr>
          <a:xfrm>
            <a:off x="8943975" y="83591"/>
            <a:ext cx="2952000" cy="73176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4BB6B88-BC38-8BEF-382E-19B13547ABEA}"/>
              </a:ext>
            </a:extLst>
          </p:cNvPr>
          <p:cNvSpPr txBox="1"/>
          <p:nvPr userDrawn="1"/>
        </p:nvSpPr>
        <p:spPr>
          <a:xfrm>
            <a:off x="257175" y="6382821"/>
            <a:ext cx="1876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#ActionOverNoise</a:t>
            </a:r>
            <a:endParaRPr lang="en-US"/>
          </a:p>
        </p:txBody>
      </p:sp>
      <p:pic>
        <p:nvPicPr>
          <p:cNvPr id="5" name="Grafik 1">
            <a:extLst>
              <a:ext uri="{FF2B5EF4-FFF2-40B4-BE49-F238E27FC236}">
                <a16:creationId xmlns:a16="http://schemas.microsoft.com/office/drawing/2014/main" id="{629EB7AC-714D-E629-B0D4-D9B1C7262A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570000" cy="684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454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163;p23">
            <a:extLst>
              <a:ext uri="{FF2B5EF4-FFF2-40B4-BE49-F238E27FC236}">
                <a16:creationId xmlns:a16="http://schemas.microsoft.com/office/drawing/2014/main" id="{2EF8B2DD-B220-9073-4FD4-F84F5E4B8F68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6570199" cy="7090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B2ACB76B-A1AA-2B0A-8A62-8E3F4991FC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940501"/>
            <a:ext cx="11529049" cy="659700"/>
          </a:xfrm>
        </p:spPr>
        <p:txBody>
          <a:bodyPr anchor="t"/>
          <a:lstStyle>
            <a:lvl1pPr>
              <a:defRPr sz="4000" b="1" i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INSERT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86A4F65-F08B-F9C3-D6E5-60A994E8979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025" y="1990725"/>
            <a:ext cx="11529049" cy="4186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2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INSERT</a:t>
            </a:r>
            <a:endParaRPr lang="en-US"/>
          </a:p>
        </p:txBody>
      </p:sp>
      <p:pic>
        <p:nvPicPr>
          <p:cNvPr id="3" name="Picture 2" descr="A close-up of words&#10;&#10;AI-generated content may be incorrect.">
            <a:extLst>
              <a:ext uri="{FF2B5EF4-FFF2-40B4-BE49-F238E27FC236}">
                <a16:creationId xmlns:a16="http://schemas.microsoft.com/office/drawing/2014/main" id="{036EC13A-9107-94DA-79D2-6504F21344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r="2788"/>
          <a:stretch>
            <a:fillRect/>
          </a:stretch>
        </p:blipFill>
        <p:spPr>
          <a:xfrm>
            <a:off x="8943975" y="83591"/>
            <a:ext cx="2952000" cy="73176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4BB6B88-BC38-8BEF-382E-19B13547ABEA}"/>
              </a:ext>
            </a:extLst>
          </p:cNvPr>
          <p:cNvSpPr txBox="1"/>
          <p:nvPr userDrawn="1"/>
        </p:nvSpPr>
        <p:spPr>
          <a:xfrm>
            <a:off x="257175" y="6382821"/>
            <a:ext cx="1876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#ActionOverNoi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641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68;p14">
            <a:extLst>
              <a:ext uri="{FF2B5EF4-FFF2-40B4-BE49-F238E27FC236}">
                <a16:creationId xmlns:a16="http://schemas.microsoft.com/office/drawing/2014/main" id="{55C58C2B-2454-BB32-EB5B-8EEFFD7A0C0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l="47462" t="9781" b="9449"/>
          <a:stretch/>
        </p:blipFill>
        <p:spPr>
          <a:xfrm flipH="1">
            <a:off x="7439024" y="0"/>
            <a:ext cx="475297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786B28E-2E65-4671-8CEE-A300F7A8C385}"/>
              </a:ext>
            </a:extLst>
          </p:cNvPr>
          <p:cNvSpPr txBox="1"/>
          <p:nvPr userDrawn="1"/>
        </p:nvSpPr>
        <p:spPr>
          <a:xfrm>
            <a:off x="342900" y="1536794"/>
            <a:ext cx="72009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 fontAlgn="base">
              <a:spcBef>
                <a:spcPts val="0"/>
              </a:spcBef>
              <a:spcAft>
                <a:spcPts val="1200"/>
              </a:spcAft>
            </a:pP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This </a:t>
            </a:r>
            <a:r>
              <a:rPr lang="de-DE" sz="2400" b="1" err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session</a:t>
            </a: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 will </a:t>
            </a:r>
            <a:r>
              <a:rPr lang="de-DE" sz="2400" b="1" err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be</a:t>
            </a: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400" b="1" err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recorded</a:t>
            </a: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br>
              <a:rPr lang="de-DE" sz="24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Subscribe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to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our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YouTube </a:t>
            </a:r>
            <a:r>
              <a:rPr lang="de-DE" sz="2000" err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channel</a:t>
            </a:r>
            <a:r>
              <a:rPr lang="de-DE" sz="2000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de-DE" sz="2000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to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watch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the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recorded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sessions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. </a:t>
            </a:r>
            <a:br>
              <a:rPr lang="de-DE" sz="24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de-DE" sz="24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de-DE" sz="2400" b="1" err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Interact</a:t>
            </a: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400" b="1" err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with</a:t>
            </a: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400" b="1" err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your</a:t>
            </a: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400" b="1" err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community</a:t>
            </a: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br>
              <a:rPr lang="de-DE" sz="24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Use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the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tools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the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screen </a:t>
            </a:r>
            <a:r>
              <a:rPr lang="de-DE" sz="2000" err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to</a:t>
            </a:r>
            <a:r>
              <a:rPr lang="de-DE" sz="2000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ask</a:t>
            </a:r>
            <a:r>
              <a:rPr lang="de-DE" sz="2000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questions</a:t>
            </a:r>
            <a:r>
              <a:rPr lang="de-DE" sz="2000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br>
              <a:rPr lang="de-DE" sz="2000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de-DE" sz="2000" err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share</a:t>
            </a:r>
            <a:r>
              <a:rPr lang="de-DE" sz="2000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resources</a:t>
            </a:r>
            <a:r>
              <a:rPr lang="de-DE" sz="2000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de-DE" sz="2000" err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chat</a:t>
            </a:r>
            <a:r>
              <a:rPr lang="de-DE" sz="2000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with</a:t>
            </a:r>
            <a:r>
              <a:rPr lang="de-DE" sz="2000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participants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br>
              <a:rPr lang="de-DE" sz="24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de-DE" sz="24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Spread </a:t>
            </a:r>
            <a:r>
              <a:rPr lang="de-DE" sz="2400" b="1" err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the</a:t>
            </a: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400" b="1" err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word</a:t>
            </a: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 online</a:t>
            </a:r>
            <a:r>
              <a:rPr lang="de-DE" sz="2400" b="0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: </a:t>
            </a:r>
            <a:r>
              <a:rPr lang="de-DE" sz="2000" b="0" i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#ActionOverNoise</a:t>
            </a:r>
            <a:br>
              <a:rPr lang="de-DE" sz="24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de-DE" sz="24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WSPD </a:t>
            </a:r>
            <a:r>
              <a:rPr lang="de-DE" sz="2400" b="1" err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is</a:t>
            </a: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 SPP in </a:t>
            </a:r>
            <a:r>
              <a:rPr lang="de-DE" sz="2400" b="1" err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action</a:t>
            </a:r>
            <a:r>
              <a:rPr lang="de-DE" sz="2400" b="1">
                <a:solidFill>
                  <a:srgbClr val="0063C6"/>
                </a:solidFill>
                <a:latin typeface="Calibri"/>
                <a:ea typeface="Calibri"/>
                <a:cs typeface="Calibri"/>
                <a:sym typeface="Calibri"/>
              </a:rPr>
              <a:t>! </a:t>
            </a:r>
            <a:b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Together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we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make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sustainable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procurement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the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2000" err="1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default</a:t>
            </a:r>
            <a:r>
              <a:rPr lang="de-DE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! </a:t>
            </a:r>
            <a:r>
              <a:rPr lang="en-US" sz="2000">
                <a:solidFill>
                  <a:srgbClr val="3B3B3B"/>
                </a:solidFill>
                <a:latin typeface="Calibri"/>
                <a:ea typeface="Calibri"/>
                <a:cs typeface="Calibri"/>
                <a:sym typeface="Calibri"/>
              </a:rPr>
              <a:t>Join the community that gets it done!</a:t>
            </a:r>
            <a:endParaRPr lang="en-US" sz="24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 descr="A close-up of words&#10;&#10;AI-generated content may be incorrect.">
            <a:extLst>
              <a:ext uri="{FF2B5EF4-FFF2-40B4-BE49-F238E27FC236}">
                <a16:creationId xmlns:a16="http://schemas.microsoft.com/office/drawing/2014/main" id="{C962B2AD-1416-5D0B-163D-BE8BE41F68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r="2788"/>
          <a:stretch>
            <a:fillRect/>
          </a:stretch>
        </p:blipFill>
        <p:spPr>
          <a:xfrm>
            <a:off x="342900" y="74066"/>
            <a:ext cx="2952000" cy="73176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1411049-7DDD-7861-ADBC-C778D893FB2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250" y="1633616"/>
            <a:ext cx="876300" cy="8763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9BFCB2-72D7-D008-1307-36F906C2EF5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707" y="5007439"/>
            <a:ext cx="936161" cy="936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25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68;p14">
            <a:extLst>
              <a:ext uri="{FF2B5EF4-FFF2-40B4-BE49-F238E27FC236}">
                <a16:creationId xmlns:a16="http://schemas.microsoft.com/office/drawing/2014/main" id="{55C58C2B-2454-BB32-EB5B-8EEFFD7A0C0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l="47462" t="9781" b="9449"/>
          <a:stretch/>
        </p:blipFill>
        <p:spPr>
          <a:xfrm flipH="1">
            <a:off x="7439024" y="0"/>
            <a:ext cx="475297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86;p16">
            <a:extLst>
              <a:ext uri="{FF2B5EF4-FFF2-40B4-BE49-F238E27FC236}">
                <a16:creationId xmlns:a16="http://schemas.microsoft.com/office/drawing/2014/main" id="{25BE682B-6C23-5408-6FC4-7B6DC3939DD1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342900" y="1273875"/>
            <a:ext cx="7172325" cy="2729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>
              <a:defRPr/>
            </a:lvl1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[INSERT SESSION TITLE]</a:t>
            </a:r>
            <a:br>
              <a:rPr lang="en-GB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3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[INSERT SUB TITLE]</a:t>
            </a:r>
          </a:p>
        </p:txBody>
      </p:sp>
      <p:pic>
        <p:nvPicPr>
          <p:cNvPr id="5" name="Picture 4" descr="A close-up of words&#10;&#10;AI-generated content may be incorrect.">
            <a:extLst>
              <a:ext uri="{FF2B5EF4-FFF2-40B4-BE49-F238E27FC236}">
                <a16:creationId xmlns:a16="http://schemas.microsoft.com/office/drawing/2014/main" id="{A2BD176A-8513-209F-FC6C-039E780A22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r="2788"/>
          <a:stretch>
            <a:fillRect/>
          </a:stretch>
        </p:blipFill>
        <p:spPr>
          <a:xfrm>
            <a:off x="342900" y="74066"/>
            <a:ext cx="2952000" cy="73176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E947803-7EB9-2EFC-3107-BED76097B76C}"/>
              </a:ext>
            </a:extLst>
          </p:cNvPr>
          <p:cNvSpPr txBox="1"/>
          <p:nvPr userDrawn="1"/>
        </p:nvSpPr>
        <p:spPr>
          <a:xfrm>
            <a:off x="257175" y="6382821"/>
            <a:ext cx="1876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#ActionOverNoi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406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86;p16">
            <a:extLst>
              <a:ext uri="{FF2B5EF4-FFF2-40B4-BE49-F238E27FC236}">
                <a16:creationId xmlns:a16="http://schemas.microsoft.com/office/drawing/2014/main" id="{25BE682B-6C23-5408-6FC4-7B6DC3939DD1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342900" y="1273875"/>
            <a:ext cx="7172325" cy="2729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>
              <a:defRPr/>
            </a:lvl1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[INSERT SESSION TITLE]</a:t>
            </a:r>
            <a:br>
              <a:rPr lang="en-GB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3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[INSERT SUB TITLE]</a:t>
            </a:r>
          </a:p>
        </p:txBody>
      </p:sp>
      <p:pic>
        <p:nvPicPr>
          <p:cNvPr id="4" name="Google Shape;103;p18">
            <a:extLst>
              <a:ext uri="{FF2B5EF4-FFF2-40B4-BE49-F238E27FC236}">
                <a16:creationId xmlns:a16="http://schemas.microsoft.com/office/drawing/2014/main" id="{D1FF1500-300D-0DBA-23FA-F933A9B6E5CB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l="47638" t="9437" b="9274"/>
          <a:stretch/>
        </p:blipFill>
        <p:spPr>
          <a:xfrm rot="10800000">
            <a:off x="7753350" y="0"/>
            <a:ext cx="443865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A close-up of words&#10;&#10;AI-generated content may be incorrect.">
            <a:extLst>
              <a:ext uri="{FF2B5EF4-FFF2-40B4-BE49-F238E27FC236}">
                <a16:creationId xmlns:a16="http://schemas.microsoft.com/office/drawing/2014/main" id="{F38238AA-23C1-55C8-889D-7B0A2931B8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r="2788"/>
          <a:stretch>
            <a:fillRect/>
          </a:stretch>
        </p:blipFill>
        <p:spPr>
          <a:xfrm>
            <a:off x="342900" y="74066"/>
            <a:ext cx="2952000" cy="73176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497D922-05EC-C574-CDF8-BFAFE579536F}"/>
              </a:ext>
            </a:extLst>
          </p:cNvPr>
          <p:cNvSpPr txBox="1"/>
          <p:nvPr userDrawn="1"/>
        </p:nvSpPr>
        <p:spPr>
          <a:xfrm>
            <a:off x="257175" y="6382821"/>
            <a:ext cx="1876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1">
                <a:solidFill>
                  <a:srgbClr val="3C3C3C"/>
                </a:solidFill>
                <a:latin typeface="Calibri"/>
                <a:ea typeface="Calibri"/>
                <a:cs typeface="Calibri"/>
                <a:sym typeface="Calibri"/>
              </a:rPr>
              <a:t>#ActionOverNoi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064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34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theme" Target="../theme/theme2.xml"/><Relationship Id="rId37" Type="http://schemas.openxmlformats.org/officeDocument/2006/relationships/image" Target="../media/image15.svg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image" Target="../media/image14.png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image" Target="../media/image13.emf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ECBF885-BF08-A018-41DF-D2E2A99AB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40680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04" imgH="405" progId="TCLayout.ActiveDocument.1">
                  <p:embed/>
                </p:oleObj>
              </mc:Choice>
              <mc:Fallback>
                <p:oleObj name="think-cell Slide" r:id="rId16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CBF885-BF08-A018-41DF-D2E2A99AB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D9518F-3A43-6855-E235-CAAB40AD02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BB688A-EE35-C715-8756-71E3D3BAC0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BCABE7-8F0E-7127-F077-B886C7D0B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D7993EF-2E74-4E6C-83F7-8A18EBE00FA2}" type="datetimeFigureOut">
              <a:rPr lang="en-US" smtClean="0"/>
              <a:t>3/25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427A6F-ADA6-EBB0-8463-FABCF7D3C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37EEFD-94AD-76F4-091D-36AD80CBC9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40C0975-C729-43E0-8126-C648CBEE0F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02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6" r:id="rId4"/>
    <p:sldLayoutId id="2147483665" r:id="rId5"/>
    <p:sldLayoutId id="2147483668" r:id="rId6"/>
    <p:sldLayoutId id="2147483661" r:id="rId7"/>
    <p:sldLayoutId id="2147483662" r:id="rId8"/>
    <p:sldLayoutId id="2147483663" r:id="rId9"/>
    <p:sldLayoutId id="2147483664" r:id="rId10"/>
    <p:sldLayoutId id="2147483667" r:id="rId11"/>
    <p:sldLayoutId id="2147483669" r:id="rId12"/>
    <p:sldLayoutId id="214748370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2834309-DAEB-DA44-974A-0F1D2F6645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545634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26" imgH="426" progId="TCLayout.ActiveDocument.1">
                  <p:embed/>
                </p:oleObj>
              </mc:Choice>
              <mc:Fallback>
                <p:oleObj name="think-cell Slide" r:id="rId3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834309-DAEB-DA44-974A-0F1D2F664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68000" y="461951"/>
            <a:ext cx="11266800" cy="8032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68000" y="1736725"/>
            <a:ext cx="11266800" cy="4257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7</a:t>
            </a:r>
          </a:p>
          <a:p>
            <a:pPr lvl="7"/>
            <a:r>
              <a:rPr lang="en-US" noProof="0" dirty="0"/>
              <a:t>Level8</a:t>
            </a:r>
          </a:p>
          <a:p>
            <a:pPr lvl="8"/>
            <a:r>
              <a:rPr lang="en-US" noProof="0" dirty="0"/>
              <a:t>Level9</a:t>
            </a:r>
          </a:p>
          <a:p>
            <a:pPr lvl="8"/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086850" y="6341361"/>
            <a:ext cx="1304484" cy="138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044000" y="6341361"/>
            <a:ext cx="7820600" cy="138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457200" y="6351658"/>
            <a:ext cx="342106" cy="138499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>
                <a:solidFill>
                  <a:schemeClr val="tx2"/>
                </a:solidFill>
                <a:latin typeface="+mj-lt"/>
              </a:defRPr>
            </a:lvl1pPr>
          </a:lstStyle>
          <a:p>
            <a:fld id="{79F16949-5381-4CB2-BF8C-DA7D3A6B8DF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2F563AB4-6B62-3D82-B497-3752C62FFAC4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0742400" y="6350400"/>
            <a:ext cx="982876" cy="124498"/>
          </a:xfrm>
          <a:prstGeom prst="rect">
            <a:avLst/>
          </a:prstGeom>
        </p:spPr>
      </p:pic>
      <p:sp>
        <p:nvSpPr>
          <p:cNvPr id="4" name="Copyright">
            <a:extLst>
              <a:ext uri="{FF2B5EF4-FFF2-40B4-BE49-F238E27FC236}">
                <a16:creationId xmlns:a16="http://schemas.microsoft.com/office/drawing/2014/main" id="{A1E6B43D-2B4E-6E01-25A9-00F7AE0CA212}"/>
              </a:ext>
            </a:extLst>
          </p:cNvPr>
          <p:cNvSpPr txBox="1"/>
          <p:nvPr userDrawn="1"/>
        </p:nvSpPr>
        <p:spPr>
          <a:xfrm>
            <a:off x="466725" y="6613251"/>
            <a:ext cx="1875513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2"/>
                </a:solidFill>
              </a:rPr>
              <a:t>Copyright © </a:t>
            </a:r>
            <a:fld id="{3E964424-3033-46AE-BE01-71E062538105}" type="datetimeyyyy">
              <a:rPr lang="en-US" sz="600" smtClean="0">
                <a:solidFill>
                  <a:schemeClr val="tx2"/>
                </a:solidFill>
              </a:rPr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600" dirty="0">
                <a:solidFill>
                  <a:schemeClr val="tx2"/>
                </a:solidFill>
              </a:rPr>
              <a:t> Novonesi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23551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90" r:id="rId20"/>
    <p:sldLayoutId id="2147483691" r:id="rId21"/>
    <p:sldLayoutId id="2147483692" r:id="rId22"/>
    <p:sldLayoutId id="2147483693" r:id="rId23"/>
    <p:sldLayoutId id="2147483694" r:id="rId24"/>
    <p:sldLayoutId id="2147483695" r:id="rId25"/>
    <p:sldLayoutId id="2147483696" r:id="rId26"/>
    <p:sldLayoutId id="2147483697" r:id="rId27"/>
    <p:sldLayoutId id="2147483699" r:id="rId28"/>
    <p:sldLayoutId id="2147483700" r:id="rId29"/>
    <p:sldLayoutId id="2147483703" r:id="rId30"/>
    <p:sldLayoutId id="2147483704" r:id="rId3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Rale Body" panose="020B060402020202020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Rale Body" panose="020B060402020202020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Rale Body" panose="020B060402020202020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Rale Body" panose="020B0604020202020204" charset="0"/>
        <a:buChar char="•"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Rale Body" panose="020B0604020202020204" charset="0"/>
        <a:buChar char="•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29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Rale Body" panose="020B0604020202020204" charset="0"/>
        <a:buChar char="•"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6pPr>
      <a:lvl7pPr marL="151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Rale Body" panose="020B0604020202020204" charset="0"/>
        <a:buChar char="•"/>
        <a:defRPr sz="16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72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Rale Body" panose="020B0604020202020204" charset="0"/>
        <a:buChar char="•"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8pPr>
      <a:lvl9pPr marL="1944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Rale Body" panose="020B0604020202020204" charset="0"/>
        <a:buChar char="•"/>
        <a:defRPr sz="1600" b="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294">
          <p15:clr>
            <a:srgbClr val="F26B43"/>
          </p15:clr>
        </p15:guide>
        <p15:guide id="4" pos="752">
          <p15:clr>
            <a:srgbClr val="A4A4A4"/>
          </p15:clr>
        </p15:guide>
        <p15:guide id="5" pos="897">
          <p15:clr>
            <a:srgbClr val="A4A4A4"/>
          </p15:clr>
        </p15:guide>
        <p15:guide id="6" pos="1355">
          <p15:clr>
            <a:srgbClr val="A4A4A4"/>
          </p15:clr>
        </p15:guide>
        <p15:guide id="7" pos="1500">
          <p15:clr>
            <a:srgbClr val="A4A4A4"/>
          </p15:clr>
        </p15:guide>
        <p15:guide id="8" pos="1958">
          <p15:clr>
            <a:srgbClr val="A4A4A4"/>
          </p15:clr>
        </p15:guide>
        <p15:guide id="9" pos="2103">
          <p15:clr>
            <a:srgbClr val="A4A4A4"/>
          </p15:clr>
        </p15:guide>
        <p15:guide id="10" pos="2561">
          <p15:clr>
            <a:srgbClr val="A4A4A4"/>
          </p15:clr>
        </p15:guide>
        <p15:guide id="11" pos="2706">
          <p15:clr>
            <a:srgbClr val="A4A4A4"/>
          </p15:clr>
        </p15:guide>
        <p15:guide id="12" pos="3164">
          <p15:clr>
            <a:srgbClr val="A4A4A4"/>
          </p15:clr>
        </p15:guide>
        <p15:guide id="13" pos="3309">
          <p15:clr>
            <a:srgbClr val="A4A4A4"/>
          </p15:clr>
        </p15:guide>
        <p15:guide id="14" pos="3767">
          <p15:clr>
            <a:srgbClr val="A4A4A4"/>
          </p15:clr>
        </p15:guide>
        <p15:guide id="15" pos="3912">
          <p15:clr>
            <a:srgbClr val="A4A4A4"/>
          </p15:clr>
        </p15:guide>
        <p15:guide id="16" pos="4370">
          <p15:clr>
            <a:srgbClr val="A4A4A4"/>
          </p15:clr>
        </p15:guide>
        <p15:guide id="17" pos="4515">
          <p15:clr>
            <a:srgbClr val="A4A4A4"/>
          </p15:clr>
        </p15:guide>
        <p15:guide id="18" pos="4973">
          <p15:clr>
            <a:srgbClr val="A4A4A4"/>
          </p15:clr>
        </p15:guide>
        <p15:guide id="19" pos="5118">
          <p15:clr>
            <a:srgbClr val="A4A4A4"/>
          </p15:clr>
        </p15:guide>
        <p15:guide id="20" pos="5576">
          <p15:clr>
            <a:srgbClr val="A4A4A4"/>
          </p15:clr>
        </p15:guide>
        <p15:guide id="21" pos="5721">
          <p15:clr>
            <a:srgbClr val="A4A4A4"/>
          </p15:clr>
        </p15:guide>
        <p15:guide id="22" pos="6179">
          <p15:clr>
            <a:srgbClr val="A4A4A4"/>
          </p15:clr>
        </p15:guide>
        <p15:guide id="23" pos="6324">
          <p15:clr>
            <a:srgbClr val="A4A4A4"/>
          </p15:clr>
        </p15:guide>
        <p15:guide id="24" pos="6782">
          <p15:clr>
            <a:srgbClr val="A4A4A4"/>
          </p15:clr>
        </p15:guide>
        <p15:guide id="25" pos="6927">
          <p15:clr>
            <a:srgbClr val="A4A4A4"/>
          </p15:clr>
        </p15:guide>
        <p15:guide id="26" pos="7385">
          <p15:clr>
            <a:srgbClr val="F26B43"/>
          </p15:clr>
        </p15:guide>
        <p15:guide id="27" orient="horz">
          <p15:clr>
            <a:srgbClr val="F26B43"/>
          </p15:clr>
        </p15:guide>
        <p15:guide id="28" orient="horz" pos="4320">
          <p15:clr>
            <a:srgbClr val="F26B43"/>
          </p15:clr>
        </p15:guide>
        <p15:guide id="29" orient="horz" pos="288">
          <p15:clr>
            <a:srgbClr val="F26B43"/>
          </p15:clr>
        </p15:guide>
        <p15:guide id="30" orient="horz" pos="377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47.svg"/><Relationship Id="rId12" Type="http://schemas.openxmlformats.org/officeDocument/2006/relationships/image" Target="../media/image5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.xml"/><Relationship Id="rId6" Type="http://schemas.openxmlformats.org/officeDocument/2006/relationships/image" Target="../media/image46.png"/><Relationship Id="rId11" Type="http://schemas.openxmlformats.org/officeDocument/2006/relationships/image" Target="../media/image51.svg"/><Relationship Id="rId5" Type="http://schemas.openxmlformats.org/officeDocument/2006/relationships/image" Target="../media/image45.jpeg"/><Relationship Id="rId10" Type="http://schemas.openxmlformats.org/officeDocument/2006/relationships/image" Target="../media/image50.png"/><Relationship Id="rId4" Type="http://schemas.openxmlformats.org/officeDocument/2006/relationships/image" Target="../media/image1.emf"/><Relationship Id="rId9" Type="http://schemas.openxmlformats.org/officeDocument/2006/relationships/image" Target="../media/image49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.xml"/><Relationship Id="rId6" Type="http://schemas.openxmlformats.org/officeDocument/2006/relationships/image" Target="../media/image5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6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.xml"/><Relationship Id="rId6" Type="http://schemas.openxmlformats.org/officeDocument/2006/relationships/image" Target="../media/image5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58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8.xml"/><Relationship Id="rId6" Type="http://schemas.openxmlformats.org/officeDocument/2006/relationships/image" Target="../media/image5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6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63.png"/><Relationship Id="rId11" Type="http://schemas.openxmlformats.org/officeDocument/2006/relationships/image" Target="../media/image66.png"/><Relationship Id="rId5" Type="http://schemas.openxmlformats.org/officeDocument/2006/relationships/image" Target="../media/image1.emf"/><Relationship Id="rId10" Type="http://schemas.openxmlformats.org/officeDocument/2006/relationships/image" Target="../media/image65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8.png"/><Relationship Id="rId12" Type="http://schemas.openxmlformats.org/officeDocument/2006/relationships/image" Target="../media/image70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0.xml"/><Relationship Id="rId6" Type="http://schemas.openxmlformats.org/officeDocument/2006/relationships/image" Target="../media/image67.png"/><Relationship Id="rId11" Type="http://schemas.openxmlformats.org/officeDocument/2006/relationships/image" Target="../media/image69.png"/><Relationship Id="rId5" Type="http://schemas.openxmlformats.org/officeDocument/2006/relationships/image" Target="../media/image1.emf"/><Relationship Id="rId10" Type="http://schemas.openxmlformats.org/officeDocument/2006/relationships/image" Target="../media/image43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5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4.png"/><Relationship Id="rId5" Type="http://schemas.openxmlformats.org/officeDocument/2006/relationships/hyperlink" Target="https://pngimg.com/download/55041" TargetMode="External"/><Relationship Id="rId4" Type="http://schemas.openxmlformats.org/officeDocument/2006/relationships/image" Target="../media/image3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5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hyperlink" Target="https://pngimg.com/download/55041" TargetMode="External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jp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9.png"/><Relationship Id="rId5" Type="http://schemas.openxmlformats.org/officeDocument/2006/relationships/image" Target="../media/image38.jpg"/><Relationship Id="rId10" Type="http://schemas.openxmlformats.org/officeDocument/2006/relationships/image" Target="../media/image43.png"/><Relationship Id="rId4" Type="http://schemas.openxmlformats.org/officeDocument/2006/relationships/image" Target="../media/image37.jpg"/><Relationship Id="rId9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5" Type="http://schemas.openxmlformats.org/officeDocument/2006/relationships/image" Target="../media/image44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55B7EC4-109C-7F7B-7AA4-85432B0230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462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5B7EC4-109C-7F7B-7AA4-85432B023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4FFFB94-4CEE-D0E8-3091-5F5D520F1B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8848" y="1700700"/>
            <a:ext cx="8762597" cy="3322992"/>
          </a:xfrm>
        </p:spPr>
        <p:txBody>
          <a:bodyPr vert="horz" anchor="ctr">
            <a:noAutofit/>
          </a:bodyPr>
          <a:lstStyle/>
          <a:p>
            <a:pPr algn="ctr"/>
            <a:r>
              <a:rPr lang="en-US" sz="6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I in Procurement: Upskilling People and Capabilities</a:t>
            </a:r>
          </a:p>
        </p:txBody>
      </p:sp>
    </p:spTree>
    <p:extLst>
      <p:ext uri="{BB962C8B-B14F-4D97-AF65-F5344CB8AC3E}">
        <p14:creationId xmlns:p14="http://schemas.microsoft.com/office/powerpoint/2010/main" val="25008543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F142E9-F6C9-73E8-C32E-282821E142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165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F142E9-F6C9-73E8-C32E-282821E14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26" descr="Black 3D wave patterns">
            <a:extLst>
              <a:ext uri="{FF2B5EF4-FFF2-40B4-BE49-F238E27FC236}">
                <a16:creationId xmlns:a16="http://schemas.microsoft.com/office/drawing/2014/main" id="{243DC58D-6854-510D-176A-44AF4EC5F2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37" r="26309"/>
          <a:stretch>
            <a:fillRect/>
          </a:stretch>
        </p:blipFill>
        <p:spPr>
          <a:xfrm>
            <a:off x="6874649" y="0"/>
            <a:ext cx="5317351" cy="6858000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0FEF54C-874C-9318-1022-F9C2A2D7C400}"/>
              </a:ext>
            </a:extLst>
          </p:cNvPr>
          <p:cNvSpPr/>
          <p:nvPr/>
        </p:nvSpPr>
        <p:spPr>
          <a:xfrm>
            <a:off x="838200" y="5518576"/>
            <a:ext cx="5723964" cy="860298"/>
          </a:xfrm>
          <a:prstGeom prst="roundRect">
            <a:avLst>
              <a:gd name="adj" fmla="val 13106"/>
            </a:avLst>
          </a:prstGeom>
          <a:solidFill>
            <a:srgbClr val="263140"/>
          </a:solidFill>
          <a:ln w="6350">
            <a:solidFill>
              <a:srgbClr val="A1B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dirty="0"/>
              <a:t>	Regulatory pressures and company commitment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8680C10-E65E-B7AC-0390-DE876E5CD392}"/>
              </a:ext>
            </a:extLst>
          </p:cNvPr>
          <p:cNvSpPr/>
          <p:nvPr/>
        </p:nvSpPr>
        <p:spPr>
          <a:xfrm>
            <a:off x="838200" y="4276941"/>
            <a:ext cx="5723964" cy="860298"/>
          </a:xfrm>
          <a:prstGeom prst="roundRect">
            <a:avLst>
              <a:gd name="adj" fmla="val 13106"/>
            </a:avLst>
          </a:prstGeom>
          <a:solidFill>
            <a:srgbClr val="263140"/>
          </a:solidFill>
          <a:ln w="6350">
            <a:solidFill>
              <a:srgbClr val="A1B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dirty="0"/>
              <a:t>Manual or slow proces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91110BC-33F7-3A92-DE05-DED3C0F7AD36}"/>
              </a:ext>
            </a:extLst>
          </p:cNvPr>
          <p:cNvSpPr/>
          <p:nvPr/>
        </p:nvSpPr>
        <p:spPr>
          <a:xfrm>
            <a:off x="838200" y="3043576"/>
            <a:ext cx="5723964" cy="860298"/>
          </a:xfrm>
          <a:prstGeom prst="roundRect">
            <a:avLst>
              <a:gd name="adj" fmla="val 13106"/>
            </a:avLst>
          </a:prstGeom>
          <a:solidFill>
            <a:srgbClr val="263140"/>
          </a:solidFill>
          <a:ln w="6350">
            <a:solidFill>
              <a:srgbClr val="A1B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dirty="0"/>
              <a:t>Low engagement rate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518B090-A60B-E3FE-1E0A-7F25C8FB980C}"/>
              </a:ext>
            </a:extLst>
          </p:cNvPr>
          <p:cNvSpPr/>
          <p:nvPr/>
        </p:nvSpPr>
        <p:spPr>
          <a:xfrm>
            <a:off x="838201" y="1828992"/>
            <a:ext cx="5723964" cy="860298"/>
          </a:xfrm>
          <a:prstGeom prst="roundRect">
            <a:avLst>
              <a:gd name="adj" fmla="val 13106"/>
            </a:avLst>
          </a:prstGeom>
          <a:solidFill>
            <a:srgbClr val="263140"/>
          </a:solidFill>
          <a:ln w="6350">
            <a:solidFill>
              <a:srgbClr val="A1B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dirty="0"/>
              <a:t>Data- overload and ga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34685A-474A-DC13-490A-FFF3D2190D01}"/>
              </a:ext>
            </a:extLst>
          </p:cNvPr>
          <p:cNvSpPr/>
          <p:nvPr/>
        </p:nvSpPr>
        <p:spPr>
          <a:xfrm>
            <a:off x="7353620" y="374981"/>
            <a:ext cx="4508521" cy="6858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i="1" dirty="0"/>
              <a:t>With AI, sustainable procurement becomes the competitive advantage that compounds daily.</a:t>
            </a:r>
          </a:p>
        </p:txBody>
      </p:sp>
      <p:pic>
        <p:nvPicPr>
          <p:cNvPr id="13" name="Graphic 12" descr="Statistics outline">
            <a:extLst>
              <a:ext uri="{FF2B5EF4-FFF2-40B4-BE49-F238E27FC236}">
                <a16:creationId xmlns:a16="http://schemas.microsoft.com/office/drawing/2014/main" id="{6E767505-41F9-52B7-BCF0-E192889DB4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90367" y="1785401"/>
            <a:ext cx="914400" cy="914400"/>
          </a:xfrm>
          <a:prstGeom prst="rect">
            <a:avLst/>
          </a:prstGeom>
        </p:spPr>
      </p:pic>
      <p:pic>
        <p:nvPicPr>
          <p:cNvPr id="15" name="Graphic 14" descr="Priorities outline">
            <a:extLst>
              <a:ext uri="{FF2B5EF4-FFF2-40B4-BE49-F238E27FC236}">
                <a16:creationId xmlns:a16="http://schemas.microsoft.com/office/drawing/2014/main" id="{6FFFD884-58AA-ABA7-0327-A4229BEF7B8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06843" y="3008255"/>
            <a:ext cx="914400" cy="914400"/>
          </a:xfrm>
          <a:prstGeom prst="rect">
            <a:avLst/>
          </a:prstGeom>
        </p:spPr>
      </p:pic>
      <p:pic>
        <p:nvPicPr>
          <p:cNvPr id="17" name="Graphic 16" descr="Speedometer Low outline">
            <a:extLst>
              <a:ext uri="{FF2B5EF4-FFF2-40B4-BE49-F238E27FC236}">
                <a16:creationId xmlns:a16="http://schemas.microsoft.com/office/drawing/2014/main" id="{D217DC27-2E71-C798-CD03-6C33E1D5C4F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90367" y="4231109"/>
            <a:ext cx="914400" cy="914400"/>
          </a:xfrm>
          <a:prstGeom prst="rect">
            <a:avLst/>
          </a:prstGeom>
        </p:spPr>
      </p:pic>
      <p:pic>
        <p:nvPicPr>
          <p:cNvPr id="19" name="Graphic 18" descr="Gavel outline">
            <a:extLst>
              <a:ext uri="{FF2B5EF4-FFF2-40B4-BE49-F238E27FC236}">
                <a16:creationId xmlns:a16="http://schemas.microsoft.com/office/drawing/2014/main" id="{B9705C5B-79E2-A09D-C547-8FD306924DA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90367" y="5464474"/>
            <a:ext cx="914400" cy="914400"/>
          </a:xfrm>
          <a:prstGeom prst="rect">
            <a:avLst/>
          </a:prstGeom>
        </p:spPr>
      </p:pic>
      <p:sp>
        <p:nvSpPr>
          <p:cNvPr id="33" name="Title 32">
            <a:extLst>
              <a:ext uri="{FF2B5EF4-FFF2-40B4-BE49-F238E27FC236}">
                <a16:creationId xmlns:a16="http://schemas.microsoft.com/office/drawing/2014/main" id="{C4CE4965-B8C7-B6D6-5747-E30E2F675B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1951"/>
            <a:ext cx="6217109" cy="803297"/>
          </a:xfrm>
        </p:spPr>
        <p:txBody>
          <a:bodyPr vert="horz"/>
          <a:lstStyle/>
          <a:p>
            <a:r>
              <a:rPr lang="da-DK" sz="3200" b="1" dirty="0">
                <a:solidFill>
                  <a:schemeClr val="tx2"/>
                </a:solidFill>
              </a:rPr>
              <a:t>Why AI </a:t>
            </a:r>
            <a:r>
              <a:rPr lang="da-DK" sz="3200" b="1" dirty="0" err="1">
                <a:solidFill>
                  <a:schemeClr val="tx2"/>
                </a:solidFill>
              </a:rPr>
              <a:t>matters</a:t>
            </a:r>
            <a:r>
              <a:rPr lang="da-DK" sz="3200" b="1" dirty="0">
                <a:solidFill>
                  <a:schemeClr val="tx2"/>
                </a:solidFill>
              </a:rPr>
              <a:t> in Procurement </a:t>
            </a:r>
            <a:r>
              <a:rPr lang="da-DK" sz="3200" b="1" dirty="0" err="1">
                <a:solidFill>
                  <a:schemeClr val="tx2"/>
                </a:solidFill>
              </a:rPr>
              <a:t>Sustaina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1694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52CF469-2F68-A26D-DCF8-47879416F1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941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2CF469-2F68-A26D-DCF8-47879416F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0">
            <a:extLst>
              <a:ext uri="{FF2B5EF4-FFF2-40B4-BE49-F238E27FC236}">
                <a16:creationId xmlns:a16="http://schemas.microsoft.com/office/drawing/2014/main" id="{FD46D400-2761-DE0D-DD84-3D28391E3F0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5865"/>
          <a:stretch>
            <a:fillRect/>
          </a:stretch>
        </p:blipFill>
        <p:spPr>
          <a:xfrm>
            <a:off x="6577914" y="1265248"/>
            <a:ext cx="5304296" cy="4993189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E7B01E55-0377-1AF7-F02E-FEE3EE8C42D2}"/>
              </a:ext>
            </a:extLst>
          </p:cNvPr>
          <p:cNvSpPr txBox="1">
            <a:spLocks/>
          </p:cNvSpPr>
          <p:nvPr/>
        </p:nvSpPr>
        <p:spPr>
          <a:xfrm>
            <a:off x="468000" y="461951"/>
            <a:ext cx="11266800" cy="8032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3600" b="1" dirty="0">
                <a:latin typeface="Rale Grotesk" charset="0"/>
              </a:rPr>
              <a:t>Case 1: Achieve Supply chain sustainability at scale with fewer resources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173630"/>
              </a:solidFill>
              <a:effectLst/>
              <a:uLnTx/>
              <a:uFillTx/>
              <a:latin typeface="Rale Grotesk"/>
              <a:ea typeface="+mj-ea"/>
              <a:cs typeface="+mj-cs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7DCF70D-3B4C-D78E-65D3-0E2A62B6475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sz="2000" b="1" dirty="0"/>
          </a:p>
          <a:p>
            <a:r>
              <a:rPr lang="en-US" sz="2000" b="1" dirty="0"/>
              <a:t>Intelligent Vendor Management</a:t>
            </a:r>
            <a:r>
              <a:rPr lang="en-US" sz="2000" dirty="0"/>
              <a:t>: Real-time ESG scoring</a:t>
            </a:r>
          </a:p>
          <a:p>
            <a:endParaRPr lang="en-US" sz="2000" dirty="0"/>
          </a:p>
          <a:p>
            <a:r>
              <a:rPr lang="en-US" sz="2000" b="1" dirty="0"/>
              <a:t>Proactive Risk Mitigation</a:t>
            </a:r>
            <a:r>
              <a:rPr lang="en-US" sz="2000" dirty="0"/>
              <a:t>: Early warning risk signals</a:t>
            </a:r>
          </a:p>
          <a:p>
            <a:endParaRPr lang="en-US" sz="2000" dirty="0"/>
          </a:p>
          <a:p>
            <a:r>
              <a:rPr lang="en-US" sz="2000" b="1" dirty="0"/>
              <a:t>Regulatory Compliance</a:t>
            </a:r>
            <a:r>
              <a:rPr lang="en-US" sz="2000" dirty="0"/>
              <a:t>: Alignment with supply chain regulations</a:t>
            </a:r>
          </a:p>
          <a:p>
            <a:endParaRPr lang="en-US" sz="2000" dirty="0"/>
          </a:p>
          <a:p>
            <a:r>
              <a:rPr lang="en-US" sz="2000" b="1" dirty="0"/>
              <a:t>Practical Sustainability</a:t>
            </a:r>
            <a:r>
              <a:rPr lang="en-US" sz="2000" dirty="0"/>
              <a:t>: ESG embedded in buyer/ category manager workflows</a:t>
            </a:r>
          </a:p>
          <a:p>
            <a:endParaRPr lang="en-US" sz="20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680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1887A81B-FA09-7A39-9B0B-42C545880C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690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87A81B-FA09-7A39-9B0B-42C545880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795916-D895-31D2-7C6A-83F561B2F5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9" y="461951"/>
            <a:ext cx="11459875" cy="803297"/>
          </a:xfrm>
        </p:spPr>
        <p:txBody>
          <a:bodyPr vert="horz">
            <a:noAutofit/>
          </a:bodyPr>
          <a:lstStyle/>
          <a:p>
            <a:r>
              <a:rPr lang="en-US" sz="3600" b="1" dirty="0">
                <a:solidFill>
                  <a:schemeClr val="tx2"/>
                </a:solidFill>
                <a:latin typeface="Rale Grotesk" charset="0"/>
              </a:rPr>
              <a:t>Significantly reduce the workload of both companies and suppliers while increasing intelligenc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4BC6D5D-D95E-9759-6B99-3A84DFA3B076}"/>
              </a:ext>
            </a:extLst>
          </p:cNvPr>
          <p:cNvGrpSpPr/>
          <p:nvPr/>
        </p:nvGrpSpPr>
        <p:grpSpPr>
          <a:xfrm>
            <a:off x="263526" y="1945358"/>
            <a:ext cx="2734656" cy="4108913"/>
            <a:chOff x="-2518413" y="2113005"/>
            <a:chExt cx="2734656" cy="4108913"/>
          </a:xfrm>
        </p:grpSpPr>
        <p:pic>
          <p:nvPicPr>
            <p:cNvPr id="9" name="Picture 8" descr="Person walking in sand">
              <a:extLst>
                <a:ext uri="{FF2B5EF4-FFF2-40B4-BE49-F238E27FC236}">
                  <a16:creationId xmlns:a16="http://schemas.microsoft.com/office/drawing/2014/main" id="{7F9E64E6-953A-4A31-583B-8D725472D8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518412" y="2113005"/>
              <a:ext cx="2734655" cy="410244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8" name="Rounded Rectangle 13">
              <a:extLst>
                <a:ext uri="{FF2B5EF4-FFF2-40B4-BE49-F238E27FC236}">
                  <a16:creationId xmlns:a16="http://schemas.microsoft.com/office/drawing/2014/main" id="{D3F09FF0-421F-C9EB-44C3-EA0939A2A4A7}"/>
                </a:ext>
              </a:extLst>
            </p:cNvPr>
            <p:cNvSpPr/>
            <p:nvPr/>
          </p:nvSpPr>
          <p:spPr>
            <a:xfrm>
              <a:off x="-2518413" y="2116262"/>
              <a:ext cx="2734655" cy="4105656"/>
            </a:xfrm>
            <a:prstGeom prst="roundRect">
              <a:avLst>
                <a:gd name="adj" fmla="val 9489"/>
              </a:avLst>
            </a:prstGeom>
            <a:gradFill>
              <a:gsLst>
                <a:gs pos="100000">
                  <a:schemeClr val="tx1">
                    <a:alpha val="80000"/>
                  </a:schemeClr>
                </a:gs>
                <a:gs pos="20000">
                  <a:srgbClr val="000000">
                    <a:alpha val="0"/>
                  </a:srgbClr>
                </a:gs>
              </a:gsLst>
              <a:lin ang="5400000" scaled="0"/>
            </a:gradFill>
            <a:ln w="1905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b">
              <a:no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</a:pPr>
              <a:r>
                <a:rPr kumimoji="0" lang="en-US" sz="3200" b="0" i="0" u="none" strike="noStrike" cap="none" spc="0" normalizeH="0" baseline="0" dirty="0">
                  <a:ln>
                    <a:noFill/>
                  </a:ln>
                  <a:solidFill>
                    <a:srgbClr val="EFF1FF"/>
                  </a:solidFill>
                  <a:effectLst/>
                  <a:uFillTx/>
                  <a:sym typeface="Arial"/>
                </a:rPr>
                <a:t>Master Data</a:t>
              </a:r>
            </a:p>
            <a:p>
              <a:pPr marL="285750" indent="-285750" hangingPunct="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EFF1FF"/>
                  </a:solidFill>
                  <a:sym typeface="Arial"/>
                </a:rPr>
                <a:t>Context &amp; Risk</a:t>
              </a:r>
            </a:p>
            <a:p>
              <a:pPr marL="285750" indent="-285750" hangingPunct="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EFF1FF"/>
                  </a:solidFill>
                  <a:sym typeface="Arial"/>
                </a:rPr>
                <a:t>Online Footprint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AC72DD2-A169-4F5C-9599-33477CD21D4A}"/>
              </a:ext>
            </a:extLst>
          </p:cNvPr>
          <p:cNvGrpSpPr/>
          <p:nvPr/>
        </p:nvGrpSpPr>
        <p:grpSpPr>
          <a:xfrm>
            <a:off x="3240490" y="1967150"/>
            <a:ext cx="2734655" cy="4105656"/>
            <a:chOff x="795497" y="1833688"/>
            <a:chExt cx="2734655" cy="4105656"/>
          </a:xfrm>
        </p:grpSpPr>
        <p:pic>
          <p:nvPicPr>
            <p:cNvPr id="11" name="Picture 10" descr="Rolls of Newspaper">
              <a:extLst>
                <a:ext uri="{FF2B5EF4-FFF2-40B4-BE49-F238E27FC236}">
                  <a16:creationId xmlns:a16="http://schemas.microsoft.com/office/drawing/2014/main" id="{9102F3AA-488B-CF97-B3EC-7B9A820482D7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5498" y="1833688"/>
              <a:ext cx="2734056" cy="410565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9" name="Rounded Rectangle 13">
              <a:extLst>
                <a:ext uri="{FF2B5EF4-FFF2-40B4-BE49-F238E27FC236}">
                  <a16:creationId xmlns:a16="http://schemas.microsoft.com/office/drawing/2014/main" id="{CBED6B8C-BCF9-608C-35C9-491FC2FEA026}"/>
                </a:ext>
              </a:extLst>
            </p:cNvPr>
            <p:cNvSpPr/>
            <p:nvPr/>
          </p:nvSpPr>
          <p:spPr>
            <a:xfrm>
              <a:off x="795497" y="1833688"/>
              <a:ext cx="2734655" cy="4105656"/>
            </a:xfrm>
            <a:prstGeom prst="roundRect">
              <a:avLst>
                <a:gd name="adj" fmla="val 9489"/>
              </a:avLst>
            </a:prstGeom>
            <a:gradFill>
              <a:gsLst>
                <a:gs pos="100000">
                  <a:schemeClr val="tx1">
                    <a:alpha val="80000"/>
                  </a:schemeClr>
                </a:gs>
                <a:gs pos="20000">
                  <a:srgbClr val="000000">
                    <a:alpha val="0"/>
                  </a:srgbClr>
                </a:gs>
              </a:gsLst>
              <a:lin ang="5400000" scaled="0"/>
            </a:gradFill>
            <a:ln w="1905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b">
              <a:no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</a:pPr>
              <a:r>
                <a:rPr kumimoji="0" lang="en-US" sz="3200" b="0" i="0" u="none" strike="noStrike" cap="none" spc="0" normalizeH="0" baseline="0" dirty="0">
                  <a:ln>
                    <a:noFill/>
                  </a:ln>
                  <a:solidFill>
                    <a:srgbClr val="EFF1FF"/>
                  </a:solidFill>
                  <a:effectLst/>
                  <a:uFillTx/>
                  <a:sym typeface="Arial"/>
                </a:rPr>
                <a:t>Actions</a:t>
              </a:r>
            </a:p>
            <a:p>
              <a:pPr marL="285750" indent="-285750" hangingPunct="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EFF1FF"/>
                  </a:solidFill>
                  <a:sym typeface="Arial"/>
                </a:rPr>
                <a:t>Third Party Sources</a:t>
              </a:r>
            </a:p>
            <a:p>
              <a:pPr marL="285750" indent="-285750" hangingPunct="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EFF1FF"/>
                  </a:solidFill>
                  <a:sym typeface="Arial"/>
                </a:rPr>
                <a:t>News and Media 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678227-9F31-F741-B2D3-CCCEA403CBCD}"/>
              </a:ext>
            </a:extLst>
          </p:cNvPr>
          <p:cNvGrpSpPr/>
          <p:nvPr/>
        </p:nvGrpSpPr>
        <p:grpSpPr>
          <a:xfrm>
            <a:off x="6216855" y="1967150"/>
            <a:ext cx="2734655" cy="4108869"/>
            <a:chOff x="4205429" y="2109792"/>
            <a:chExt cx="2734655" cy="4108869"/>
          </a:xfrm>
        </p:grpSpPr>
        <p:pic>
          <p:nvPicPr>
            <p:cNvPr id="15" name="Picture 14" descr="Women talking to each other">
              <a:extLst>
                <a:ext uri="{FF2B5EF4-FFF2-40B4-BE49-F238E27FC236}">
                  <a16:creationId xmlns:a16="http://schemas.microsoft.com/office/drawing/2014/main" id="{345D2088-A846-B5B2-6DD7-90ADCD31F64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06028" y="2113005"/>
              <a:ext cx="2734056" cy="410565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21" name="Rounded Rectangle 13">
              <a:extLst>
                <a:ext uri="{FF2B5EF4-FFF2-40B4-BE49-F238E27FC236}">
                  <a16:creationId xmlns:a16="http://schemas.microsoft.com/office/drawing/2014/main" id="{3A5070BB-DDA9-A908-C1AD-D7C1A09A25DC}"/>
                </a:ext>
              </a:extLst>
            </p:cNvPr>
            <p:cNvSpPr/>
            <p:nvPr/>
          </p:nvSpPr>
          <p:spPr>
            <a:xfrm>
              <a:off x="4205429" y="2109792"/>
              <a:ext cx="2734655" cy="4105656"/>
            </a:xfrm>
            <a:prstGeom prst="roundRect">
              <a:avLst>
                <a:gd name="adj" fmla="val 9489"/>
              </a:avLst>
            </a:prstGeom>
            <a:gradFill>
              <a:gsLst>
                <a:gs pos="100000">
                  <a:schemeClr val="tx1">
                    <a:alpha val="80000"/>
                  </a:schemeClr>
                </a:gs>
                <a:gs pos="20000">
                  <a:srgbClr val="000000">
                    <a:alpha val="0"/>
                  </a:srgbClr>
                </a:gs>
              </a:gsLst>
              <a:lin ang="5400000" scaled="0"/>
            </a:gradFill>
            <a:ln w="1905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b">
              <a:no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</a:pPr>
              <a:r>
                <a:rPr kumimoji="0" lang="en-US" sz="3200" b="0" i="0" u="none" strike="noStrike" cap="none" spc="0" normalizeH="0" baseline="0" dirty="0">
                  <a:ln>
                    <a:noFill/>
                  </a:ln>
                  <a:solidFill>
                    <a:srgbClr val="EFF1FF"/>
                  </a:solidFill>
                  <a:effectLst/>
                  <a:uFillTx/>
                  <a:sym typeface="Arial"/>
                </a:rPr>
                <a:t>Engagement</a:t>
              </a:r>
            </a:p>
            <a:p>
              <a:pPr marL="285750" indent="-285750" hangingPunct="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EFF1FF"/>
                  </a:solidFill>
                  <a:sym typeface="Arial"/>
                </a:rPr>
                <a:t>Response evaluation</a:t>
              </a:r>
            </a:p>
            <a:p>
              <a:pPr marL="285750" indent="-285750" hangingPunct="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EFF1FF"/>
                  </a:solidFill>
                  <a:sym typeface="Arial"/>
                </a:rPr>
                <a:t>Translation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2128EB3-0979-1112-03EF-AC8C5DCF0D34}"/>
              </a:ext>
            </a:extLst>
          </p:cNvPr>
          <p:cNvGrpSpPr/>
          <p:nvPr/>
        </p:nvGrpSpPr>
        <p:grpSpPr>
          <a:xfrm>
            <a:off x="9193220" y="1948615"/>
            <a:ext cx="2734655" cy="4124191"/>
            <a:chOff x="11395903" y="2109792"/>
            <a:chExt cx="2734655" cy="4124191"/>
          </a:xfrm>
        </p:grpSpPr>
        <p:pic>
          <p:nvPicPr>
            <p:cNvPr id="17" name="Picture 16" descr="Angled photo of a man holding pencil over a color catalog">
              <a:extLst>
                <a:ext uri="{FF2B5EF4-FFF2-40B4-BE49-F238E27FC236}">
                  <a16:creationId xmlns:a16="http://schemas.microsoft.com/office/drawing/2014/main" id="{692EB3E2-002F-717C-7906-625711328FAA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96502" y="2109792"/>
              <a:ext cx="2734056" cy="410565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22" name="Rounded Rectangle 13">
              <a:extLst>
                <a:ext uri="{FF2B5EF4-FFF2-40B4-BE49-F238E27FC236}">
                  <a16:creationId xmlns:a16="http://schemas.microsoft.com/office/drawing/2014/main" id="{0E230717-1189-109C-1502-6A8F3FE3B960}"/>
                </a:ext>
              </a:extLst>
            </p:cNvPr>
            <p:cNvSpPr/>
            <p:nvPr/>
          </p:nvSpPr>
          <p:spPr>
            <a:xfrm>
              <a:off x="11395903" y="2128327"/>
              <a:ext cx="2734655" cy="4105656"/>
            </a:xfrm>
            <a:prstGeom prst="roundRect">
              <a:avLst>
                <a:gd name="adj" fmla="val 9489"/>
              </a:avLst>
            </a:prstGeom>
            <a:gradFill>
              <a:gsLst>
                <a:gs pos="100000">
                  <a:schemeClr val="tx1">
                    <a:alpha val="80000"/>
                  </a:schemeClr>
                </a:gs>
                <a:gs pos="20000">
                  <a:srgbClr val="000000">
                    <a:alpha val="0"/>
                  </a:srgbClr>
                </a:gs>
              </a:gsLst>
              <a:lin ang="5400000" scaled="0"/>
            </a:gradFill>
            <a:ln w="1905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b">
              <a:no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</a:pPr>
              <a:r>
                <a:rPr kumimoji="0" lang="en-US" sz="3600" b="0" i="0" u="none" strike="noStrike" cap="none" spc="0" normalizeH="0" baseline="0" dirty="0">
                  <a:ln>
                    <a:noFill/>
                  </a:ln>
                  <a:solidFill>
                    <a:srgbClr val="EFF1FF"/>
                  </a:solidFill>
                  <a:effectLst/>
                  <a:uFillTx/>
                  <a:sym typeface="Arial"/>
                </a:rPr>
                <a:t>Analysis</a:t>
              </a:r>
            </a:p>
            <a:p>
              <a:pPr marL="285750" indent="-285750" hangingPunct="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EFF1FF"/>
                  </a:solidFill>
                  <a:sym typeface="Arial"/>
                </a:rPr>
                <a:t>Prioritization</a:t>
              </a:r>
            </a:p>
            <a:p>
              <a:pPr marL="285750" indent="-285750" hangingPunct="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EFF1FF"/>
                  </a:solidFill>
                  <a:sym typeface="Arial"/>
                </a:rPr>
                <a:t>Document Re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211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50DFA2-1166-7CE8-B333-A022C2C04A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1020395-CEC2-8545-827C-3878E58843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418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020395-CEC2-8545-827C-3878E5884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E1FEFB-C1D1-48D7-3648-F1211BA464D0}"/>
              </a:ext>
            </a:extLst>
          </p:cNvPr>
          <p:cNvCxnSpPr>
            <a:cxnSpLocks/>
          </p:cNvCxnSpPr>
          <p:nvPr/>
        </p:nvCxnSpPr>
        <p:spPr>
          <a:xfrm flipH="1">
            <a:off x="0" y="2323465"/>
            <a:ext cx="1234948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1DBED1B-8263-BD78-4B2F-537719DEFB36}"/>
              </a:ext>
            </a:extLst>
          </p:cNvPr>
          <p:cNvCxnSpPr>
            <a:cxnSpLocks/>
          </p:cNvCxnSpPr>
          <p:nvPr/>
        </p:nvCxnSpPr>
        <p:spPr>
          <a:xfrm flipH="1">
            <a:off x="0" y="4805449"/>
            <a:ext cx="12192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E3FD3E84-5CF0-5DF8-1563-6C5D43FB35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96603" y="120980"/>
            <a:ext cx="4782066" cy="207818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1D47E47-4938-0D33-1F8A-FC221F6E21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0711" y="120980"/>
            <a:ext cx="1937578" cy="2078185"/>
          </a:xfrm>
          <a:prstGeom prst="rect">
            <a:avLst/>
          </a:prstGeom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DBCE2CA-A120-0E00-297A-9E13055DFA51}"/>
              </a:ext>
            </a:extLst>
          </p:cNvPr>
          <p:cNvSpPr/>
          <p:nvPr/>
        </p:nvSpPr>
        <p:spPr>
          <a:xfrm>
            <a:off x="223546" y="309412"/>
            <a:ext cx="3227379" cy="397610"/>
          </a:xfrm>
          <a:prstGeom prst="roundRect">
            <a:avLst>
              <a:gd name="adj" fmla="val 13106"/>
            </a:avLst>
          </a:prstGeom>
          <a:solidFill>
            <a:schemeClr val="accent4"/>
          </a:solidFill>
          <a:ln w="6350">
            <a:solidFill>
              <a:srgbClr val="A1B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600" b="1" dirty="0">
                <a:solidFill>
                  <a:srgbClr val="263140"/>
                </a:solidFill>
              </a:rPr>
              <a:t>Customized Scorecard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5A30A67-C491-7738-4C9C-DD5AA174AAD5}"/>
              </a:ext>
            </a:extLst>
          </p:cNvPr>
          <p:cNvSpPr/>
          <p:nvPr/>
        </p:nvSpPr>
        <p:spPr>
          <a:xfrm>
            <a:off x="223546" y="2653120"/>
            <a:ext cx="3227379" cy="337081"/>
          </a:xfrm>
          <a:prstGeom prst="roundRect">
            <a:avLst>
              <a:gd name="adj" fmla="val 13106"/>
            </a:avLst>
          </a:prstGeom>
          <a:solidFill>
            <a:schemeClr val="accent4"/>
          </a:solidFill>
          <a:ln w="6350">
            <a:solidFill>
              <a:srgbClr val="A1B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600" b="1" dirty="0">
                <a:solidFill>
                  <a:srgbClr val="263140"/>
                </a:solidFill>
              </a:rPr>
              <a:t>Incident Management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83C3E5-0A4C-13EC-584B-FB94AF0D4FE0}"/>
              </a:ext>
            </a:extLst>
          </p:cNvPr>
          <p:cNvSpPr/>
          <p:nvPr/>
        </p:nvSpPr>
        <p:spPr>
          <a:xfrm>
            <a:off x="223546" y="5072207"/>
            <a:ext cx="3227379" cy="315340"/>
          </a:xfrm>
          <a:prstGeom prst="roundRect">
            <a:avLst>
              <a:gd name="adj" fmla="val 13106"/>
            </a:avLst>
          </a:prstGeom>
          <a:solidFill>
            <a:schemeClr val="accent4"/>
          </a:solidFill>
          <a:ln w="6350">
            <a:solidFill>
              <a:srgbClr val="A1B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600" b="1" dirty="0">
                <a:solidFill>
                  <a:srgbClr val="263140"/>
                </a:solidFill>
              </a:rPr>
              <a:t>Tender Input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637A1336-B7F3-05C1-2203-F98A1A301D8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19583"/>
          <a:stretch>
            <a:fillRect/>
          </a:stretch>
        </p:blipFill>
        <p:spPr>
          <a:xfrm>
            <a:off x="3996603" y="2536868"/>
            <a:ext cx="7878967" cy="201998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788CE1B-4462-ECA4-2640-535C7E68E89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96603" y="4984330"/>
            <a:ext cx="5416828" cy="1752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2417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C11997-AE9E-8516-E4DB-BC5F8C08D1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E5456B4-43C4-29E0-96D3-49A70FF834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514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5456B4-43C4-29E0-96D3-49A70FF834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A5A0F7B1-5CF7-D12C-C5F6-4DE1AA30EF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53309" y="-187647"/>
            <a:ext cx="12234340" cy="6956854"/>
          </a:xfrm>
          <a:prstGeom prst="rect">
            <a:avLst/>
          </a:prstGeom>
          <a:gradFill>
            <a:gsLst>
              <a:gs pos="28000">
                <a:schemeClr val="accent1">
                  <a:lumMod val="5000"/>
                  <a:lumOff val="95000"/>
                  <a:alpha val="0"/>
                </a:schemeClr>
              </a:gs>
              <a:gs pos="59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67000">
                <a:schemeClr val="accent1">
                  <a:lumMod val="30000"/>
                  <a:lumOff val="70000"/>
                  <a:alpha val="45000"/>
                </a:schemeClr>
              </a:gs>
            </a:gsLst>
            <a:lin ang="5400000" scaled="1"/>
          </a:gradFill>
          <a:ln>
            <a:noFill/>
          </a:ln>
          <a:effectLst>
            <a:softEdge rad="112500"/>
          </a:effec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A5E3BAC5-7443-4C44-3C97-EBFDA65C830B}"/>
              </a:ext>
            </a:extLst>
          </p:cNvPr>
          <p:cNvSpPr/>
          <p:nvPr/>
        </p:nvSpPr>
        <p:spPr>
          <a:xfrm>
            <a:off x="-32924" y="-138220"/>
            <a:ext cx="12224923" cy="6996220"/>
          </a:xfrm>
          <a:prstGeom prst="rect">
            <a:avLst/>
          </a:prstGeom>
          <a:solidFill>
            <a:schemeClr val="accent1">
              <a:lumMod val="40000"/>
              <a:lumOff val="60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985DC0B-8750-3EC9-BF89-9BEDD73ACDBD}"/>
              </a:ext>
            </a:extLst>
          </p:cNvPr>
          <p:cNvCxnSpPr>
            <a:cxnSpLocks/>
          </p:cNvCxnSpPr>
          <p:nvPr/>
        </p:nvCxnSpPr>
        <p:spPr>
          <a:xfrm>
            <a:off x="328425" y="6153667"/>
            <a:ext cx="342687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74083C4-747C-6E9D-16AF-F063B42C386A}"/>
              </a:ext>
            </a:extLst>
          </p:cNvPr>
          <p:cNvCxnSpPr>
            <a:cxnSpLocks/>
          </p:cNvCxnSpPr>
          <p:nvPr/>
        </p:nvCxnSpPr>
        <p:spPr>
          <a:xfrm>
            <a:off x="4349638" y="6153667"/>
            <a:ext cx="342687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03F700B-AABC-29EB-5549-483CBC1570F8}"/>
              </a:ext>
            </a:extLst>
          </p:cNvPr>
          <p:cNvCxnSpPr>
            <a:cxnSpLocks/>
          </p:cNvCxnSpPr>
          <p:nvPr/>
        </p:nvCxnSpPr>
        <p:spPr>
          <a:xfrm>
            <a:off x="8184351" y="6153667"/>
            <a:ext cx="342687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53BBD7D2-1356-D967-815E-D81AFF2A79F2}"/>
              </a:ext>
            </a:extLst>
          </p:cNvPr>
          <p:cNvSpPr/>
          <p:nvPr/>
        </p:nvSpPr>
        <p:spPr>
          <a:xfrm>
            <a:off x="5085415" y="5614802"/>
            <a:ext cx="2409567" cy="551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Spend Sustainabl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5AE08D-70D2-BD19-DC4C-68871D171AD0}"/>
              </a:ext>
            </a:extLst>
          </p:cNvPr>
          <p:cNvSpPr/>
          <p:nvPr/>
        </p:nvSpPr>
        <p:spPr>
          <a:xfrm>
            <a:off x="837081" y="5613716"/>
            <a:ext cx="2409567" cy="551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Easy Acces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E3A0C6D-D834-9393-906A-FD053776F100}"/>
              </a:ext>
            </a:extLst>
          </p:cNvPr>
          <p:cNvSpPr/>
          <p:nvPr/>
        </p:nvSpPr>
        <p:spPr>
          <a:xfrm>
            <a:off x="8935147" y="5604197"/>
            <a:ext cx="2409567" cy="551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Support Compliance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B092E0C-00E3-B4FE-76F3-FC44F953DB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66184" y="4872509"/>
            <a:ext cx="734068" cy="6535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C9B20234-6F03-8878-002D-DB0E25DCFEF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08126" y="4782624"/>
            <a:ext cx="867477" cy="6535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B7C91243-AB3C-F634-3384-6A9D31BDBA5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37425" y="4617511"/>
            <a:ext cx="700539" cy="742293"/>
          </a:xfrm>
          <a:prstGeom prst="rect">
            <a:avLst/>
          </a:prstGeom>
        </p:spPr>
      </p:pic>
      <p:sp>
        <p:nvSpPr>
          <p:cNvPr id="48" name="Title 6">
            <a:extLst>
              <a:ext uri="{FF2B5EF4-FFF2-40B4-BE49-F238E27FC236}">
                <a16:creationId xmlns:a16="http://schemas.microsoft.com/office/drawing/2014/main" id="{BB194209-26AC-2B7C-33F5-DB37EFA5E24F}"/>
              </a:ext>
            </a:extLst>
          </p:cNvPr>
          <p:cNvSpPr txBox="1">
            <a:spLocks/>
          </p:cNvSpPr>
          <p:nvPr/>
        </p:nvSpPr>
        <p:spPr>
          <a:xfrm>
            <a:off x="468000" y="461951"/>
            <a:ext cx="11266800" cy="8032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3600" b="1" dirty="0">
                <a:latin typeface="Rale Grotesk" charset="0"/>
              </a:rPr>
              <a:t>Case 2: Effortless, compliant procurement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173630"/>
              </a:solidFill>
              <a:effectLst/>
              <a:uLnTx/>
              <a:uFillTx/>
              <a:latin typeface="Rale Grotesk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523EF8-7421-CBDF-7E37-3AED936A85D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1769" y="1049766"/>
            <a:ext cx="6943521" cy="3567745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30DBE249-506E-0F07-7E21-56C1301B8168}"/>
              </a:ext>
            </a:extLst>
          </p:cNvPr>
          <p:cNvSpPr/>
          <p:nvPr/>
        </p:nvSpPr>
        <p:spPr>
          <a:xfrm>
            <a:off x="-32924" y="960973"/>
            <a:ext cx="1021465" cy="35370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C1D259B-0D79-1B03-3315-76CE4153491F}"/>
              </a:ext>
            </a:extLst>
          </p:cNvPr>
          <p:cNvSpPr/>
          <p:nvPr/>
        </p:nvSpPr>
        <p:spPr>
          <a:xfrm>
            <a:off x="1964870" y="1611721"/>
            <a:ext cx="2384768" cy="35370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455EF46-BE15-C631-BFFD-F96F602EFC0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23586" y="1774709"/>
            <a:ext cx="5061467" cy="2720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6521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BFC671-9336-7C47-2461-60A9297D93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90C0875-4C91-6014-245F-3488584B9D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993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0C0875-4C91-6014-245F-3488584B9D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43220DEB-3D3D-8DC5-64AC-78F8D739B7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9128" y="1579387"/>
            <a:ext cx="3202460" cy="2418287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BE39CFB7-2534-7B88-F3BE-D71772605F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5107" y="4751507"/>
            <a:ext cx="2448616" cy="707969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345FF0EC-FFC9-50B0-BEDF-0BADC594E2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22763" y="4729235"/>
            <a:ext cx="737843" cy="70797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743B801B-56DE-594A-58C1-ED0C4D346F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22763" y="5751619"/>
            <a:ext cx="730288" cy="768389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13934230-5FED-1B58-9326-12D7F896B78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06037" y="4751507"/>
            <a:ext cx="661573" cy="707969"/>
          </a:xfrm>
          <a:prstGeom prst="rect">
            <a:avLst/>
          </a:prstGeom>
        </p:spPr>
      </p:pic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81A50584-EA6A-5C63-2244-2E05CFF4DD2E}"/>
              </a:ext>
            </a:extLst>
          </p:cNvPr>
          <p:cNvCxnSpPr>
            <a:cxnSpLocks/>
          </p:cNvCxnSpPr>
          <p:nvPr/>
        </p:nvCxnSpPr>
        <p:spPr>
          <a:xfrm>
            <a:off x="0" y="4313796"/>
            <a:ext cx="12192000" cy="6049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BD3EE477-074B-764B-2E01-D99DD54801D7}"/>
              </a:ext>
            </a:extLst>
          </p:cNvPr>
          <p:cNvCxnSpPr/>
          <p:nvPr/>
        </p:nvCxnSpPr>
        <p:spPr>
          <a:xfrm>
            <a:off x="3064482" y="5104025"/>
            <a:ext cx="32127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F8FC2987-61E6-7516-A543-5FB8B0D83EA7}"/>
              </a:ext>
            </a:extLst>
          </p:cNvPr>
          <p:cNvCxnSpPr/>
          <p:nvPr/>
        </p:nvCxnSpPr>
        <p:spPr>
          <a:xfrm>
            <a:off x="6318427" y="5104025"/>
            <a:ext cx="32127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F16DBDF6-0803-17AE-1E1B-7D3D0A290B97}"/>
              </a:ext>
            </a:extLst>
          </p:cNvPr>
          <p:cNvCxnSpPr/>
          <p:nvPr/>
        </p:nvCxnSpPr>
        <p:spPr>
          <a:xfrm>
            <a:off x="8287270" y="5091668"/>
            <a:ext cx="32127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4B4EBF7A-2A46-5B98-E25E-1B522461022E}"/>
              </a:ext>
            </a:extLst>
          </p:cNvPr>
          <p:cNvCxnSpPr>
            <a:cxnSpLocks/>
            <a:stCxn id="51" idx="2"/>
            <a:endCxn id="53" idx="0"/>
          </p:cNvCxnSpPr>
          <p:nvPr/>
        </p:nvCxnSpPr>
        <p:spPr>
          <a:xfrm flipH="1">
            <a:off x="7387907" y="5437205"/>
            <a:ext cx="3778" cy="31441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9E5F3ACA-B9BF-A8A9-1819-A5D6F7BB8E86}"/>
              </a:ext>
            </a:extLst>
          </p:cNvPr>
          <p:cNvSpPr/>
          <p:nvPr/>
        </p:nvSpPr>
        <p:spPr>
          <a:xfrm>
            <a:off x="1913244" y="5684107"/>
            <a:ext cx="946996" cy="4256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Trigger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5DCA5B5-F672-7BD4-73DA-B937F4B3CBAB}"/>
              </a:ext>
            </a:extLst>
          </p:cNvPr>
          <p:cNvSpPr/>
          <p:nvPr/>
        </p:nvSpPr>
        <p:spPr>
          <a:xfrm>
            <a:off x="4361632" y="5675870"/>
            <a:ext cx="1200626" cy="4338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Request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2C7E3F7-35FC-DD46-FB08-A9E92625305D}"/>
              </a:ext>
            </a:extLst>
          </p:cNvPr>
          <p:cNvSpPr/>
          <p:nvPr/>
        </p:nvSpPr>
        <p:spPr>
          <a:xfrm>
            <a:off x="6785291" y="4311814"/>
            <a:ext cx="1200626" cy="4338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Agent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96A0103-28D5-A706-74A2-2A213E87C7E0}"/>
              </a:ext>
            </a:extLst>
          </p:cNvPr>
          <p:cNvSpPr/>
          <p:nvPr/>
        </p:nvSpPr>
        <p:spPr>
          <a:xfrm>
            <a:off x="6723505" y="6325530"/>
            <a:ext cx="1370175" cy="514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Databases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4553429-B0AF-E077-3C4F-EDD99C2FDF7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44362" y="4745678"/>
            <a:ext cx="688306" cy="798272"/>
          </a:xfrm>
          <a:prstGeom prst="rect">
            <a:avLst/>
          </a:prstGeom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183BE0A5-4003-AA17-DCBE-CA9C6A0F829C}"/>
              </a:ext>
            </a:extLst>
          </p:cNvPr>
          <p:cNvSpPr/>
          <p:nvPr/>
        </p:nvSpPr>
        <p:spPr>
          <a:xfrm>
            <a:off x="8772274" y="5543950"/>
            <a:ext cx="1200626" cy="4338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Report</a:t>
            </a:r>
          </a:p>
        </p:txBody>
      </p:sp>
      <p:sp>
        <p:nvSpPr>
          <p:cNvPr id="81" name="Title 6">
            <a:extLst>
              <a:ext uri="{FF2B5EF4-FFF2-40B4-BE49-F238E27FC236}">
                <a16:creationId xmlns:a16="http://schemas.microsoft.com/office/drawing/2014/main" id="{8143AF65-B500-3A00-4B4D-EE7CFD232B63}"/>
              </a:ext>
            </a:extLst>
          </p:cNvPr>
          <p:cNvSpPr txBox="1">
            <a:spLocks/>
          </p:cNvSpPr>
          <p:nvPr/>
        </p:nvSpPr>
        <p:spPr>
          <a:xfrm>
            <a:off x="468000" y="461951"/>
            <a:ext cx="11266800" cy="8032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3600" b="1" dirty="0">
                <a:latin typeface="Rale Grotesk" charset="0"/>
              </a:rPr>
              <a:t>Case 3: Driving efficiency by </a:t>
            </a:r>
            <a:r>
              <a:rPr lang="en-GB" sz="3600" b="1">
                <a:latin typeface="Rale Grotesk" charset="0"/>
              </a:rPr>
              <a:t>streamlining requests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173630"/>
              </a:solidFill>
              <a:effectLst/>
              <a:uLnTx/>
              <a:uFillTx/>
              <a:latin typeface="Rale Grotesk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F53269-CB06-7745-FCBF-6F73991CB51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66301" y="1918292"/>
            <a:ext cx="6439231" cy="166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831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AF125-717A-4267-3D6E-EBDCFA437B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noProof="0" dirty="0">
                <a:latin typeface="Calibri"/>
                <a:ea typeface="Calibri"/>
                <a:cs typeface="Calibri"/>
              </a:rPr>
              <a:t>Upskilling of People and Capabilities in the wake of AI</a:t>
            </a:r>
            <a:endParaRPr lang="en-US" noProof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53B2998-29CE-1675-C3BB-463AF8357BF4}"/>
              </a:ext>
            </a:extLst>
          </p:cNvPr>
          <p:cNvSpPr txBox="1">
            <a:spLocks/>
          </p:cNvSpPr>
          <p:nvPr/>
        </p:nvSpPr>
        <p:spPr>
          <a:xfrm>
            <a:off x="342900" y="2481586"/>
            <a:ext cx="7172325" cy="27291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0975"/>
            <a:r>
              <a:rPr lang="en-US" sz="4000" dirty="0">
                <a:latin typeface="Calibri"/>
                <a:ea typeface="Calibri"/>
                <a:cs typeface="Calibri"/>
              </a:rPr>
              <a:t>Program Governance Framework and its adaptation for managing AI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4110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70B6E-68F8-F7C2-B523-7376A1791DE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Digital Transformation – Back to Basic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3F4ECFB-1A36-69F3-0A1B-C92A36EC9036}"/>
              </a:ext>
            </a:extLst>
          </p:cNvPr>
          <p:cNvSpPr txBox="1">
            <a:spLocks/>
          </p:cNvSpPr>
          <p:nvPr/>
        </p:nvSpPr>
        <p:spPr>
          <a:xfrm>
            <a:off x="300038" y="1989138"/>
            <a:ext cx="11557000" cy="166308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/>
            <a:r>
              <a:rPr lang="en-GB" b="1" dirty="0">
                <a:solidFill>
                  <a:srgbClr val="0063C6"/>
                </a:solidFill>
                <a:latin typeface="+mn-lt"/>
              </a:rPr>
              <a:t>Digitization</a:t>
            </a:r>
            <a:r>
              <a:rPr lang="en-GB" sz="1400" dirty="0">
                <a:latin typeface="+mn-lt"/>
              </a:rPr>
              <a:t> </a:t>
            </a:r>
            <a:r>
              <a:rPr lang="en-GB" dirty="0">
                <a:latin typeface="+mn-lt"/>
              </a:rPr>
              <a:t>- </a:t>
            </a:r>
            <a:r>
              <a:rPr lang="en-GB" sz="2400" dirty="0">
                <a:latin typeface="+mn-lt"/>
              </a:rPr>
              <a:t>the process of changing from analogue to digital form … without any different-in-kind changes to the process itself (</a:t>
            </a:r>
            <a:r>
              <a:rPr lang="en-GB" sz="2400" i="1" dirty="0">
                <a:latin typeface="+mn-lt"/>
              </a:rPr>
              <a:t>Gartner Glossary</a:t>
            </a:r>
            <a:r>
              <a:rPr lang="en-GB" sz="2400" dirty="0">
                <a:latin typeface="+mn-lt"/>
              </a:rPr>
              <a:t>)</a:t>
            </a:r>
            <a:endParaRPr lang="en-GB" dirty="0">
              <a:latin typeface="+mn-lt"/>
            </a:endParaRPr>
          </a:p>
          <a:p>
            <a:pPr marL="180975" indent="-180975"/>
            <a:r>
              <a:rPr lang="en-US" b="1" dirty="0">
                <a:solidFill>
                  <a:srgbClr val="0063C6"/>
                </a:solidFill>
                <a:latin typeface="+mn-lt"/>
              </a:rPr>
              <a:t>Digitalization</a:t>
            </a:r>
            <a:r>
              <a:rPr lang="en-US" sz="1400" dirty="0">
                <a:latin typeface="+mn-lt"/>
              </a:rPr>
              <a:t> </a:t>
            </a:r>
            <a:r>
              <a:rPr lang="en-US" dirty="0">
                <a:latin typeface="+mn-lt"/>
              </a:rPr>
              <a:t>- </a:t>
            </a:r>
            <a:r>
              <a:rPr lang="en-GB" sz="2400" dirty="0">
                <a:latin typeface="+mn-lt"/>
              </a:rPr>
              <a:t>use of digital technologies to change a business model … it is the process of moving to a digital business (</a:t>
            </a:r>
            <a:r>
              <a:rPr lang="en-GB" sz="2400" i="1" dirty="0">
                <a:latin typeface="+mn-lt"/>
              </a:rPr>
              <a:t>Gartner Glossary</a:t>
            </a:r>
            <a:r>
              <a:rPr lang="en-GB" sz="2400" dirty="0">
                <a:latin typeface="+mn-lt"/>
              </a:rPr>
              <a:t>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C39FC3D-02B0-D5C5-4D1E-8EA921AD1327}"/>
              </a:ext>
            </a:extLst>
          </p:cNvPr>
          <p:cNvGrpSpPr/>
          <p:nvPr/>
        </p:nvGrpSpPr>
        <p:grpSpPr>
          <a:xfrm>
            <a:off x="562008" y="5699481"/>
            <a:ext cx="4905982" cy="585335"/>
            <a:chOff x="562008" y="5699481"/>
            <a:chExt cx="4905982" cy="585335"/>
          </a:xfrm>
        </p:grpSpPr>
        <p:sp>
          <p:nvSpPr>
            <p:cNvPr id="4" name="Left Brace 3">
              <a:extLst>
                <a:ext uri="{FF2B5EF4-FFF2-40B4-BE49-F238E27FC236}">
                  <a16:creationId xmlns:a16="http://schemas.microsoft.com/office/drawing/2014/main" id="{4D64B495-ED43-515D-32A1-7FD8ADFB475E}"/>
                </a:ext>
              </a:extLst>
            </p:cNvPr>
            <p:cNvSpPr/>
            <p:nvPr/>
          </p:nvSpPr>
          <p:spPr>
            <a:xfrm rot="16200000">
              <a:off x="2880590" y="3380899"/>
              <a:ext cx="268818" cy="4905982"/>
            </a:xfrm>
            <a:prstGeom prst="leftBrac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588132D-352E-DED3-F11D-2DF66CA1473A}"/>
                </a:ext>
              </a:extLst>
            </p:cNvPr>
            <p:cNvSpPr txBox="1"/>
            <p:nvPr/>
          </p:nvSpPr>
          <p:spPr>
            <a:xfrm>
              <a:off x="2222955" y="5884706"/>
              <a:ext cx="15840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000" dirty="0"/>
                <a:t>3 – 4 months</a:t>
              </a:r>
              <a:endParaRPr lang="en-US" sz="2000" dirty="0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217DD14-053B-1844-89BA-098448F116FD}"/>
              </a:ext>
            </a:extLst>
          </p:cNvPr>
          <p:cNvSpPr txBox="1"/>
          <p:nvPr/>
        </p:nvSpPr>
        <p:spPr>
          <a:xfrm>
            <a:off x="5756483" y="5884706"/>
            <a:ext cx="17203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4 – 10 months</a:t>
            </a:r>
            <a:endParaRPr lang="en-US" sz="2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B64AD7-A89F-4A6B-FC9F-12A1C38BF9F5}"/>
              </a:ext>
            </a:extLst>
          </p:cNvPr>
          <p:cNvSpPr txBox="1"/>
          <p:nvPr/>
        </p:nvSpPr>
        <p:spPr>
          <a:xfrm>
            <a:off x="7765319" y="5884706"/>
            <a:ext cx="13274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1 – 7 years</a:t>
            </a:r>
            <a:endParaRPr lang="en-US" sz="2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CBD4FB-552E-D785-B470-FE05F83EE868}"/>
              </a:ext>
            </a:extLst>
          </p:cNvPr>
          <p:cNvSpPr txBox="1"/>
          <p:nvPr/>
        </p:nvSpPr>
        <p:spPr>
          <a:xfrm>
            <a:off x="8947138" y="5884706"/>
            <a:ext cx="12032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rgbClr val="0063C6"/>
                </a:solidFill>
                <a:sym typeface="Wingdings" panose="05000000000000000000" pitchFamily="2" charset="2"/>
              </a:rPr>
              <a:t> How ?</a:t>
            </a:r>
            <a:endParaRPr lang="en-US" sz="2000" b="1" dirty="0">
              <a:solidFill>
                <a:srgbClr val="0063C6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6136A50-39C3-0C42-7593-24D3B701BD72}"/>
              </a:ext>
            </a:extLst>
          </p:cNvPr>
          <p:cNvGrpSpPr/>
          <p:nvPr/>
        </p:nvGrpSpPr>
        <p:grpSpPr>
          <a:xfrm>
            <a:off x="562008" y="4160718"/>
            <a:ext cx="8506428" cy="1487965"/>
            <a:chOff x="562008" y="4160718"/>
            <a:chExt cx="8506428" cy="1487965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A1566A47-CDCD-46F0-426D-46C2802D10CE}"/>
                </a:ext>
              </a:extLst>
            </p:cNvPr>
            <p:cNvSpPr/>
            <p:nvPr/>
          </p:nvSpPr>
          <p:spPr>
            <a:xfrm>
              <a:off x="562008" y="4160718"/>
              <a:ext cx="1303120" cy="1487965"/>
            </a:xfrm>
            <a:prstGeom prst="roundRect">
              <a:avLst/>
            </a:prstGeom>
            <a:solidFill>
              <a:srgbClr val="0063C6">
                <a:alpha val="3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2000" dirty="0">
                  <a:solidFill>
                    <a:schemeClr val="tx1"/>
                  </a:solidFill>
                </a:rPr>
                <a:t>Vision &amp; objectives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93D4D8A6-8C03-07B0-0A31-857BF2FEDE99}"/>
                </a:ext>
              </a:extLst>
            </p:cNvPr>
            <p:cNvSpPr/>
            <p:nvPr/>
          </p:nvSpPr>
          <p:spPr>
            <a:xfrm>
              <a:off x="4164871" y="4160718"/>
              <a:ext cx="1303119" cy="1487964"/>
            </a:xfrm>
            <a:prstGeom prst="roundRect">
              <a:avLst/>
            </a:prstGeom>
            <a:solidFill>
              <a:srgbClr val="0063C6">
                <a:alpha val="3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2000" dirty="0">
                  <a:solidFill>
                    <a:schemeClr val="tx1"/>
                  </a:solidFill>
                </a:rPr>
                <a:t>Digital strategy &amp; roadmap</a:t>
              </a: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88469FC-F88F-C847-CFDA-13CCFDA3195D}"/>
                </a:ext>
              </a:extLst>
            </p:cNvPr>
            <p:cNvSpPr/>
            <p:nvPr/>
          </p:nvSpPr>
          <p:spPr>
            <a:xfrm>
              <a:off x="5965096" y="4160719"/>
              <a:ext cx="1303118" cy="1487963"/>
            </a:xfrm>
            <a:prstGeom prst="roundRect">
              <a:avLst/>
            </a:prstGeom>
            <a:solidFill>
              <a:srgbClr val="0063C6">
                <a:alpha val="3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2000" dirty="0">
                  <a:solidFill>
                    <a:schemeClr val="tx1"/>
                  </a:solidFill>
                </a:rPr>
                <a:t>Select, </a:t>
              </a:r>
              <a:r>
                <a:rPr lang="en-GB" sz="2000" dirty="0" err="1">
                  <a:solidFill>
                    <a:schemeClr val="tx1"/>
                  </a:solidFill>
                </a:rPr>
                <a:t>implem’t</a:t>
              </a:r>
              <a:r>
                <a:rPr lang="en-GB" sz="2000" dirty="0">
                  <a:solidFill>
                    <a:schemeClr val="tx1"/>
                  </a:solidFill>
                </a:rPr>
                <a:t>, change </a:t>
              </a:r>
              <a:r>
                <a:rPr lang="en-GB" sz="2000" dirty="0" err="1">
                  <a:solidFill>
                    <a:schemeClr val="tx1"/>
                  </a:solidFill>
                </a:rPr>
                <a:t>mgmt</a:t>
              </a: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9CE147BC-8C0B-A2B0-5E81-DAAA78F55930}"/>
                </a:ext>
              </a:extLst>
            </p:cNvPr>
            <p:cNvSpPr/>
            <p:nvPr/>
          </p:nvSpPr>
          <p:spPr>
            <a:xfrm>
              <a:off x="2364646" y="4160718"/>
              <a:ext cx="1303119" cy="1487964"/>
            </a:xfrm>
            <a:prstGeom prst="roundRect">
              <a:avLst/>
            </a:prstGeom>
            <a:solidFill>
              <a:srgbClr val="0063C6">
                <a:alpha val="3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en-GB" sz="2000" dirty="0">
                  <a:solidFill>
                    <a:schemeClr val="tx1"/>
                  </a:solidFill>
                </a:rPr>
                <a:t>Digital maturity</a:t>
              </a: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94C93EA-3221-33CA-A0D4-30B05CC8D73D}"/>
                </a:ext>
              </a:extLst>
            </p:cNvPr>
            <p:cNvSpPr/>
            <p:nvPr/>
          </p:nvSpPr>
          <p:spPr>
            <a:xfrm>
              <a:off x="7765319" y="4160719"/>
              <a:ext cx="1303117" cy="1487962"/>
            </a:xfrm>
            <a:prstGeom prst="roundRect">
              <a:avLst/>
            </a:prstGeom>
            <a:solidFill>
              <a:srgbClr val="0063C6">
                <a:alpha val="3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en-GB" sz="2000" dirty="0">
                  <a:solidFill>
                    <a:schemeClr val="tx1"/>
                  </a:solidFill>
                </a:rPr>
                <a:t>Measure, monitor, optimize</a:t>
              </a: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28" name="Isosceles Triangle 27">
              <a:extLst>
                <a:ext uri="{FF2B5EF4-FFF2-40B4-BE49-F238E27FC236}">
                  <a16:creationId xmlns:a16="http://schemas.microsoft.com/office/drawing/2014/main" id="{6302D699-45AB-7E0C-712E-45C43D89F8A7}"/>
                </a:ext>
              </a:extLst>
            </p:cNvPr>
            <p:cNvSpPr/>
            <p:nvPr/>
          </p:nvSpPr>
          <p:spPr>
            <a:xfrm rot="5400000">
              <a:off x="1873196" y="4693859"/>
              <a:ext cx="489151" cy="421682"/>
            </a:xfrm>
            <a:prstGeom prst="triangle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Isosceles Triangle 36">
              <a:extLst>
                <a:ext uri="{FF2B5EF4-FFF2-40B4-BE49-F238E27FC236}">
                  <a16:creationId xmlns:a16="http://schemas.microsoft.com/office/drawing/2014/main" id="{88D934E0-908B-B4C6-F96B-A2D539D63249}"/>
                </a:ext>
              </a:extLst>
            </p:cNvPr>
            <p:cNvSpPr/>
            <p:nvPr/>
          </p:nvSpPr>
          <p:spPr>
            <a:xfrm rot="5400000">
              <a:off x="3670063" y="4693859"/>
              <a:ext cx="489151" cy="421682"/>
            </a:xfrm>
            <a:prstGeom prst="triangle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Isosceles Triangle 37">
              <a:extLst>
                <a:ext uri="{FF2B5EF4-FFF2-40B4-BE49-F238E27FC236}">
                  <a16:creationId xmlns:a16="http://schemas.microsoft.com/office/drawing/2014/main" id="{7E8FF49B-F25D-8829-1DB3-67DE26B004B4}"/>
                </a:ext>
              </a:extLst>
            </p:cNvPr>
            <p:cNvSpPr/>
            <p:nvPr/>
          </p:nvSpPr>
          <p:spPr>
            <a:xfrm rot="5400000">
              <a:off x="5471967" y="4693859"/>
              <a:ext cx="489151" cy="421682"/>
            </a:xfrm>
            <a:prstGeom prst="triangle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05053E31-EA02-0681-A525-7FF2BA57D969}"/>
                </a:ext>
              </a:extLst>
            </p:cNvPr>
            <p:cNvSpPr/>
            <p:nvPr/>
          </p:nvSpPr>
          <p:spPr>
            <a:xfrm rot="5400000">
              <a:off x="7261053" y="4693859"/>
              <a:ext cx="489151" cy="421682"/>
            </a:xfrm>
            <a:prstGeom prst="triangle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AC52C3C-C1C3-12DE-56D1-68FA23E3400D}"/>
              </a:ext>
            </a:extLst>
          </p:cNvPr>
          <p:cNvSpPr txBox="1">
            <a:spLocks/>
          </p:cNvSpPr>
          <p:nvPr/>
        </p:nvSpPr>
        <p:spPr>
          <a:xfrm>
            <a:off x="300038" y="3668095"/>
            <a:ext cx="11557000" cy="48263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63C6"/>
                </a:solidFill>
                <a:latin typeface="+mn-lt"/>
              </a:rPr>
              <a:t>Digital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3157208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FFAA4B-EC6C-0ECB-9A45-9439B2B64E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ogram Governance Framework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DB70E13-66C4-A290-2A19-56D0A41FD77D}"/>
              </a:ext>
            </a:extLst>
          </p:cNvPr>
          <p:cNvSpPr txBox="1">
            <a:spLocks/>
          </p:cNvSpPr>
          <p:nvPr/>
        </p:nvSpPr>
        <p:spPr>
          <a:xfrm>
            <a:off x="300037" y="1989138"/>
            <a:ext cx="11548099" cy="35788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latin typeface="+mn-lt"/>
              </a:rPr>
              <a:t>3 Components</a:t>
            </a:r>
            <a:r>
              <a:rPr lang="en-GB" dirty="0">
                <a:latin typeface="+mn-lt"/>
              </a:rPr>
              <a:t> of the Framework</a:t>
            </a:r>
          </a:p>
          <a:p>
            <a:endParaRPr lang="en-US" dirty="0">
              <a:latin typeface="+mn-lt"/>
            </a:endParaRPr>
          </a:p>
          <a:p>
            <a:pPr marL="179388"/>
            <a:r>
              <a:rPr lang="en-US" dirty="0">
                <a:latin typeface="+mn-lt"/>
                <a:sym typeface="Wingdings" panose="05000000000000000000" pitchFamily="2" charset="2"/>
              </a:rPr>
              <a:t>  </a:t>
            </a:r>
            <a:r>
              <a:rPr lang="en-US" dirty="0">
                <a:latin typeface="+mn-lt"/>
              </a:rPr>
              <a:t>Stakeholder Map and RSI Matrix</a:t>
            </a:r>
          </a:p>
          <a:p>
            <a:endParaRPr lang="en-US" dirty="0">
              <a:latin typeface="+mn-lt"/>
            </a:endParaRPr>
          </a:p>
          <a:p>
            <a:pPr marL="179388"/>
            <a:r>
              <a:rPr lang="en-US" dirty="0">
                <a:latin typeface="+mn-lt"/>
                <a:sym typeface="Wingdings" panose="05000000000000000000" pitchFamily="2" charset="2"/>
              </a:rPr>
              <a:t> </a:t>
            </a:r>
            <a:r>
              <a:rPr lang="en-US" dirty="0">
                <a:latin typeface="+mn-lt"/>
              </a:rPr>
              <a:t>Program Roadmap</a:t>
            </a:r>
          </a:p>
          <a:p>
            <a:endParaRPr lang="en-US" dirty="0">
              <a:latin typeface="+mn-lt"/>
            </a:endParaRPr>
          </a:p>
          <a:p>
            <a:pPr marL="179388"/>
            <a:r>
              <a:rPr lang="en-US" dirty="0">
                <a:latin typeface="+mn-lt"/>
                <a:sym typeface="Wingdings" panose="05000000000000000000" pitchFamily="2" charset="2"/>
              </a:rPr>
              <a:t> Governance </a:t>
            </a:r>
            <a:r>
              <a:rPr lang="en-US" dirty="0">
                <a:latin typeface="+mn-lt"/>
              </a:rPr>
              <a:t>Documentation</a:t>
            </a:r>
          </a:p>
        </p:txBody>
      </p:sp>
    </p:spTree>
    <p:extLst>
      <p:ext uri="{BB962C8B-B14F-4D97-AF65-F5344CB8AC3E}">
        <p14:creationId xmlns:p14="http://schemas.microsoft.com/office/powerpoint/2010/main" val="32312731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2E2F0-7BA7-995F-20EE-4F2CCD462F8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takeholder Map</a:t>
            </a:r>
            <a:endParaRPr lang="en-US" dirty="0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AB7E93B-3362-25B0-03FB-B411F466F0B6}"/>
              </a:ext>
            </a:extLst>
          </p:cNvPr>
          <p:cNvGrpSpPr/>
          <p:nvPr/>
        </p:nvGrpSpPr>
        <p:grpSpPr>
          <a:xfrm>
            <a:off x="2103941" y="1994806"/>
            <a:ext cx="7983561" cy="4209369"/>
            <a:chOff x="980848" y="1628774"/>
            <a:chExt cx="7921625" cy="4176713"/>
          </a:xfrm>
        </p:grpSpPr>
        <p:sp>
          <p:nvSpPr>
            <p:cNvPr id="59" name="Pie 59">
              <a:extLst>
                <a:ext uri="{FF2B5EF4-FFF2-40B4-BE49-F238E27FC236}">
                  <a16:creationId xmlns:a16="http://schemas.microsoft.com/office/drawing/2014/main" id="{0D1E0E27-1360-40CB-8B66-8A142CB6BB16}"/>
                </a:ext>
              </a:extLst>
            </p:cNvPr>
            <p:cNvSpPr/>
            <p:nvPr/>
          </p:nvSpPr>
          <p:spPr>
            <a:xfrm>
              <a:off x="980848" y="1628774"/>
              <a:ext cx="7921625" cy="4176713"/>
            </a:xfrm>
            <a:prstGeom prst="pie">
              <a:avLst>
                <a:gd name="adj1" fmla="val 4053349"/>
                <a:gd name="adj2" fmla="val 4700974"/>
              </a:avLst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F0467A02-507F-987D-1A8F-1067EC2FB22C}"/>
                </a:ext>
              </a:extLst>
            </p:cNvPr>
            <p:cNvSpPr txBox="1"/>
            <p:nvPr/>
          </p:nvSpPr>
          <p:spPr>
            <a:xfrm rot="21065347">
              <a:off x="5292984" y="5494849"/>
              <a:ext cx="485950" cy="2625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SG" sz="1600" b="1" dirty="0">
                  <a:solidFill>
                    <a:schemeClr val="bg1"/>
                  </a:solidFill>
                  <a:cs typeface="Arial" panose="020B0604020202020204" pitchFamily="34" charset="0"/>
                </a:rPr>
                <a:t>S.I.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E4620A13-4999-6EF7-6E24-13632C8E2EA0}"/>
              </a:ext>
            </a:extLst>
          </p:cNvPr>
          <p:cNvGrpSpPr/>
          <p:nvPr/>
        </p:nvGrpSpPr>
        <p:grpSpPr>
          <a:xfrm>
            <a:off x="2076972" y="1994809"/>
            <a:ext cx="7983561" cy="4209368"/>
            <a:chOff x="1460779" y="1627540"/>
            <a:chExt cx="6180255" cy="3258567"/>
          </a:xfrm>
        </p:grpSpPr>
        <p:sp>
          <p:nvSpPr>
            <p:cNvPr id="62" name="Pie 22">
              <a:extLst>
                <a:ext uri="{FF2B5EF4-FFF2-40B4-BE49-F238E27FC236}">
                  <a16:creationId xmlns:a16="http://schemas.microsoft.com/office/drawing/2014/main" id="{A551385A-F4C4-7A90-ED84-2CC05B87E830}"/>
                </a:ext>
              </a:extLst>
            </p:cNvPr>
            <p:cNvSpPr/>
            <p:nvPr/>
          </p:nvSpPr>
          <p:spPr>
            <a:xfrm>
              <a:off x="1460779" y="1627540"/>
              <a:ext cx="6180255" cy="3258567"/>
            </a:xfrm>
            <a:prstGeom prst="pie">
              <a:avLst>
                <a:gd name="adj1" fmla="val 2801152"/>
                <a:gd name="adj2" fmla="val 3997882"/>
              </a:avLst>
            </a:prstGeom>
            <a:solidFill>
              <a:schemeClr val="bg1">
                <a:lumMod val="5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5F376F9-9D0D-1E0B-536D-544724668A42}"/>
                </a:ext>
              </a:extLst>
            </p:cNvPr>
            <p:cNvSpPr txBox="1"/>
            <p:nvPr/>
          </p:nvSpPr>
          <p:spPr>
            <a:xfrm rot="20700000">
              <a:off x="5100362" y="4327953"/>
              <a:ext cx="541587" cy="3294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SG" b="1" dirty="0">
                  <a:solidFill>
                    <a:schemeClr val="bg1"/>
                  </a:solidFill>
                  <a:cs typeface="Arial" panose="020B0604020202020204" pitchFamily="34" charset="0"/>
                </a:rPr>
                <a:t>Sys.</a:t>
              </a:r>
            </a:p>
            <a:p>
              <a:pPr algn="ctr">
                <a:lnSpc>
                  <a:spcPts val="1200"/>
                </a:lnSpc>
              </a:pPr>
              <a:r>
                <a:rPr lang="en-SG" b="1" dirty="0">
                  <a:solidFill>
                    <a:schemeClr val="bg1"/>
                  </a:solidFill>
                  <a:cs typeface="Arial" panose="020B0604020202020204" pitchFamily="34" charset="0"/>
                </a:rPr>
                <a:t>prov.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1C3D56D7-090B-5C1C-DDC0-66F4D650118C}"/>
              </a:ext>
            </a:extLst>
          </p:cNvPr>
          <p:cNvGrpSpPr/>
          <p:nvPr/>
        </p:nvGrpSpPr>
        <p:grpSpPr>
          <a:xfrm>
            <a:off x="2076972" y="1994806"/>
            <a:ext cx="7983561" cy="4209369"/>
            <a:chOff x="992188" y="1628774"/>
            <a:chExt cx="7921625" cy="4176713"/>
          </a:xfrm>
        </p:grpSpPr>
        <p:sp>
          <p:nvSpPr>
            <p:cNvPr id="65" name="Pie 16">
              <a:extLst>
                <a:ext uri="{FF2B5EF4-FFF2-40B4-BE49-F238E27FC236}">
                  <a16:creationId xmlns:a16="http://schemas.microsoft.com/office/drawing/2014/main" id="{1BF1A4B4-FFF6-73C1-5E76-A22CFF707B8F}"/>
                </a:ext>
              </a:extLst>
            </p:cNvPr>
            <p:cNvSpPr/>
            <p:nvPr/>
          </p:nvSpPr>
          <p:spPr>
            <a:xfrm>
              <a:off x="992188" y="1628774"/>
              <a:ext cx="7921625" cy="4176713"/>
            </a:xfrm>
            <a:prstGeom prst="pie">
              <a:avLst>
                <a:gd name="adj1" fmla="val 6389283"/>
                <a:gd name="adj2" fmla="val 7998060"/>
              </a:avLst>
            </a:prstGeom>
            <a:solidFill>
              <a:schemeClr val="bg1">
                <a:lumMod val="65000"/>
                <a:alpha val="4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>
                <a:solidFill>
                  <a:schemeClr val="tx1"/>
                </a:solidFill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4ED72B9-B7F3-FE47-3E81-58100DAF4536}"/>
                </a:ext>
              </a:extLst>
            </p:cNvPr>
            <p:cNvSpPr txBox="1"/>
            <p:nvPr/>
          </p:nvSpPr>
          <p:spPr>
            <a:xfrm rot="913572">
              <a:off x="3446686" y="5221014"/>
              <a:ext cx="970882" cy="4222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lnSpc>
                  <a:spcPts val="1200"/>
                </a:lnSpc>
              </a:pPr>
              <a:r>
                <a:rPr lang="en-SG" dirty="0" err="1">
                  <a:cs typeface="Arial" panose="020B0604020202020204" pitchFamily="34" charset="0"/>
                </a:rPr>
                <a:t>Integ</a:t>
              </a:r>
              <a:r>
                <a:rPr lang="en-SG" dirty="0">
                  <a:cs typeface="Arial" panose="020B0604020202020204" pitchFamily="34" charset="0"/>
                </a:rPr>
                <a:t>.</a:t>
              </a:r>
            </a:p>
            <a:p>
              <a:pPr algn="r">
                <a:lnSpc>
                  <a:spcPts val="1200"/>
                </a:lnSpc>
              </a:pPr>
              <a:r>
                <a:rPr lang="en-SG" dirty="0">
                  <a:cs typeface="Arial" panose="020B0604020202020204" pitchFamily="34" charset="0"/>
                </a:rPr>
                <a:t>vendors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087C448E-F847-1C8B-69CC-0AE3471DF420}"/>
              </a:ext>
            </a:extLst>
          </p:cNvPr>
          <p:cNvGrpSpPr/>
          <p:nvPr/>
        </p:nvGrpSpPr>
        <p:grpSpPr>
          <a:xfrm>
            <a:off x="2086201" y="1994808"/>
            <a:ext cx="7983561" cy="4209367"/>
            <a:chOff x="992188" y="1628776"/>
            <a:chExt cx="7921625" cy="4176712"/>
          </a:xfrm>
        </p:grpSpPr>
        <p:sp>
          <p:nvSpPr>
            <p:cNvPr id="68" name="Pie 19">
              <a:extLst>
                <a:ext uri="{FF2B5EF4-FFF2-40B4-BE49-F238E27FC236}">
                  <a16:creationId xmlns:a16="http://schemas.microsoft.com/office/drawing/2014/main" id="{A45BAD7D-9E6C-668F-8A02-A8AAD264839D}"/>
                </a:ext>
              </a:extLst>
            </p:cNvPr>
            <p:cNvSpPr/>
            <p:nvPr/>
          </p:nvSpPr>
          <p:spPr>
            <a:xfrm>
              <a:off x="992188" y="1628776"/>
              <a:ext cx="7921625" cy="4176712"/>
            </a:xfrm>
            <a:prstGeom prst="pie">
              <a:avLst>
                <a:gd name="adj1" fmla="val 4657383"/>
                <a:gd name="adj2" fmla="val 6396876"/>
              </a:avLst>
            </a:prstGeom>
            <a:solidFill>
              <a:schemeClr val="bg1">
                <a:lumMod val="65000"/>
                <a:alpha val="7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>
                <a:solidFill>
                  <a:schemeClr val="tx1"/>
                </a:solidFill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D827C721-F19D-8C74-A0EB-AF63D13B1F33}"/>
                </a:ext>
              </a:extLst>
            </p:cNvPr>
            <p:cNvSpPr txBox="1"/>
            <p:nvPr/>
          </p:nvSpPr>
          <p:spPr>
            <a:xfrm>
              <a:off x="4332658" y="5337700"/>
              <a:ext cx="1095011" cy="4222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SG" dirty="0">
                  <a:cs typeface="Arial" panose="020B0604020202020204" pitchFamily="34" charset="0"/>
                </a:rPr>
                <a:t>Transact.</a:t>
              </a:r>
            </a:p>
            <a:p>
              <a:pPr algn="ctr">
                <a:lnSpc>
                  <a:spcPts val="1200"/>
                </a:lnSpc>
              </a:pPr>
              <a:r>
                <a:rPr lang="en-SG" dirty="0">
                  <a:cs typeface="Arial" panose="020B0604020202020204" pitchFamily="34" charset="0"/>
                </a:rPr>
                <a:t>vendors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A99D8B7-B35B-8816-811C-F33FAED68505}"/>
              </a:ext>
            </a:extLst>
          </p:cNvPr>
          <p:cNvGrpSpPr/>
          <p:nvPr/>
        </p:nvGrpSpPr>
        <p:grpSpPr>
          <a:xfrm>
            <a:off x="3175740" y="2575576"/>
            <a:ext cx="5804480" cy="3047832"/>
            <a:chOff x="2073275" y="2205038"/>
            <a:chExt cx="5759450" cy="3024187"/>
          </a:xfrm>
        </p:grpSpPr>
        <p:sp>
          <p:nvSpPr>
            <p:cNvPr id="71" name="Pie 13">
              <a:extLst>
                <a:ext uri="{FF2B5EF4-FFF2-40B4-BE49-F238E27FC236}">
                  <a16:creationId xmlns:a16="http://schemas.microsoft.com/office/drawing/2014/main" id="{EF73B168-2D94-15A4-ADBC-F2096FBE8D8F}"/>
                </a:ext>
              </a:extLst>
            </p:cNvPr>
            <p:cNvSpPr/>
            <p:nvPr/>
          </p:nvSpPr>
          <p:spPr>
            <a:xfrm>
              <a:off x="2073275" y="2205038"/>
              <a:ext cx="5759450" cy="3024187"/>
            </a:xfrm>
            <a:prstGeom prst="pie">
              <a:avLst>
                <a:gd name="adj1" fmla="val 4651732"/>
                <a:gd name="adj2" fmla="val 8000877"/>
              </a:avLst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>
                <a:solidFill>
                  <a:schemeClr val="tx1"/>
                </a:solidFill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41F3A59-DE9D-5AA2-6756-2280FEB1D628}"/>
                </a:ext>
              </a:extLst>
            </p:cNvPr>
            <p:cNvSpPr txBox="1"/>
            <p:nvPr/>
          </p:nvSpPr>
          <p:spPr>
            <a:xfrm rot="254969">
              <a:off x="4036988" y="4711292"/>
              <a:ext cx="1086103" cy="3970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SG" sz="2000" dirty="0">
                  <a:cs typeface="Arial" panose="020B0604020202020204" pitchFamily="34" charset="0"/>
                </a:rPr>
                <a:t>Vendors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C5BE2EB-B8B4-E7C5-7EB9-FD4E8E727C8A}"/>
              </a:ext>
            </a:extLst>
          </p:cNvPr>
          <p:cNvGrpSpPr/>
          <p:nvPr/>
        </p:nvGrpSpPr>
        <p:grpSpPr>
          <a:xfrm>
            <a:off x="2104594" y="1999395"/>
            <a:ext cx="7983561" cy="4209369"/>
            <a:chOff x="986033" y="1628774"/>
            <a:chExt cx="7921625" cy="4176713"/>
          </a:xfrm>
        </p:grpSpPr>
        <p:sp>
          <p:nvSpPr>
            <p:cNvPr id="74" name="Pie 45">
              <a:extLst>
                <a:ext uri="{FF2B5EF4-FFF2-40B4-BE49-F238E27FC236}">
                  <a16:creationId xmlns:a16="http://schemas.microsoft.com/office/drawing/2014/main" id="{9933764C-75A3-414E-A5D2-4BB0AE1EB270}"/>
                </a:ext>
              </a:extLst>
            </p:cNvPr>
            <p:cNvSpPr/>
            <p:nvPr/>
          </p:nvSpPr>
          <p:spPr>
            <a:xfrm>
              <a:off x="986033" y="1628774"/>
              <a:ext cx="7921625" cy="4176713"/>
            </a:xfrm>
            <a:prstGeom prst="pie">
              <a:avLst>
                <a:gd name="adj1" fmla="val 1153016"/>
                <a:gd name="adj2" fmla="val 2830456"/>
              </a:avLst>
            </a:prstGeom>
            <a:solidFill>
              <a:srgbClr val="00B050">
                <a:alpha val="20000"/>
              </a:srgb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00936A8-6B36-0BD3-FAAD-033A57871319}"/>
                </a:ext>
              </a:extLst>
            </p:cNvPr>
            <p:cNvSpPr txBox="1"/>
            <p:nvPr/>
          </p:nvSpPr>
          <p:spPr>
            <a:xfrm rot="19873099">
              <a:off x="6354674" y="4796309"/>
              <a:ext cx="1672705" cy="4738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SG" sz="2000" dirty="0">
                  <a:cs typeface="Arial" panose="020B0604020202020204" pitchFamily="34" charset="0"/>
                </a:rPr>
                <a:t>Group</a:t>
              </a:r>
            </a:p>
            <a:p>
              <a:pPr>
                <a:lnSpc>
                  <a:spcPts val="1400"/>
                </a:lnSpc>
              </a:pPr>
              <a:r>
                <a:rPr lang="en-SG" sz="2000" dirty="0">
                  <a:cs typeface="Arial" panose="020B0604020202020204" pitchFamily="34" charset="0"/>
                </a:rPr>
                <a:t>Sustainability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A5C20768-3B44-25CE-1D93-96A590579946}"/>
              </a:ext>
            </a:extLst>
          </p:cNvPr>
          <p:cNvGrpSpPr/>
          <p:nvPr/>
        </p:nvGrpSpPr>
        <p:grpSpPr>
          <a:xfrm>
            <a:off x="2109167" y="1994806"/>
            <a:ext cx="7983561" cy="4209369"/>
            <a:chOff x="986034" y="1628774"/>
            <a:chExt cx="7921625" cy="4176713"/>
          </a:xfrm>
        </p:grpSpPr>
        <p:sp>
          <p:nvSpPr>
            <p:cNvPr id="77" name="Pie 44">
              <a:extLst>
                <a:ext uri="{FF2B5EF4-FFF2-40B4-BE49-F238E27FC236}">
                  <a16:creationId xmlns:a16="http://schemas.microsoft.com/office/drawing/2014/main" id="{8C7F5C1A-8254-1A25-5FFF-73C7D3EACD3F}"/>
                </a:ext>
              </a:extLst>
            </p:cNvPr>
            <p:cNvSpPr/>
            <p:nvPr/>
          </p:nvSpPr>
          <p:spPr>
            <a:xfrm>
              <a:off x="986034" y="1628774"/>
              <a:ext cx="7921625" cy="4176713"/>
            </a:xfrm>
            <a:prstGeom prst="pie">
              <a:avLst>
                <a:gd name="adj1" fmla="val 21597320"/>
                <a:gd name="adj2" fmla="val 1153538"/>
              </a:avLst>
            </a:prstGeom>
            <a:solidFill>
              <a:srgbClr val="00B050">
                <a:alpha val="50000"/>
              </a:srgb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ED7302B-37D8-D254-B330-285727D67F61}"/>
                </a:ext>
              </a:extLst>
            </p:cNvPr>
            <p:cNvSpPr txBox="1"/>
            <p:nvPr/>
          </p:nvSpPr>
          <p:spPr>
            <a:xfrm>
              <a:off x="7702563" y="4019134"/>
              <a:ext cx="1145844" cy="3970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SG" sz="2000" dirty="0">
                  <a:cs typeface="Arial" panose="020B0604020202020204" pitchFamily="34" charset="0"/>
                </a:rPr>
                <a:t>IT / Tech.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A2F2E3A4-9E71-5151-1AE8-367E8AE2A44A}"/>
              </a:ext>
            </a:extLst>
          </p:cNvPr>
          <p:cNvGrpSpPr/>
          <p:nvPr/>
        </p:nvGrpSpPr>
        <p:grpSpPr>
          <a:xfrm>
            <a:off x="2109168" y="1989138"/>
            <a:ext cx="7983561" cy="4209369"/>
            <a:chOff x="986035" y="1623150"/>
            <a:chExt cx="7921625" cy="4176713"/>
          </a:xfrm>
        </p:grpSpPr>
        <p:sp>
          <p:nvSpPr>
            <p:cNvPr id="80" name="Pie 43">
              <a:extLst>
                <a:ext uri="{FF2B5EF4-FFF2-40B4-BE49-F238E27FC236}">
                  <a16:creationId xmlns:a16="http://schemas.microsoft.com/office/drawing/2014/main" id="{E429BAF3-9E8D-E1AB-5AB7-2F63E5E07685}"/>
                </a:ext>
              </a:extLst>
            </p:cNvPr>
            <p:cNvSpPr/>
            <p:nvPr/>
          </p:nvSpPr>
          <p:spPr>
            <a:xfrm>
              <a:off x="986035" y="1623150"/>
              <a:ext cx="7921625" cy="4176713"/>
            </a:xfrm>
            <a:prstGeom prst="pie">
              <a:avLst>
                <a:gd name="adj1" fmla="val 20448832"/>
                <a:gd name="adj2" fmla="val 2262"/>
              </a:avLst>
            </a:prstGeom>
            <a:solidFill>
              <a:srgbClr val="00B050">
                <a:alpha val="70000"/>
              </a:srgb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2AC2110C-4BED-3318-95BB-56FBF95D27FC}"/>
                </a:ext>
              </a:extLst>
            </p:cNvPr>
            <p:cNvSpPr txBox="1"/>
            <p:nvPr/>
          </p:nvSpPr>
          <p:spPr>
            <a:xfrm>
              <a:off x="7712053" y="3032084"/>
              <a:ext cx="1055754" cy="4738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SG" sz="2000" dirty="0">
                  <a:cs typeface="Arial" panose="020B0604020202020204" pitchFamily="34" charset="0"/>
                </a:rPr>
                <a:t>Finance</a:t>
              </a:r>
            </a:p>
            <a:p>
              <a:pPr>
                <a:lnSpc>
                  <a:spcPts val="1400"/>
                </a:lnSpc>
              </a:pPr>
              <a:r>
                <a:rPr lang="en-SG" sz="2000" dirty="0">
                  <a:cs typeface="Arial" panose="020B0604020202020204" pitchFamily="34" charset="0"/>
                </a:rPr>
                <a:t>&amp; Acct.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12F8CE49-5657-75E3-92AC-BDB53E085EAC}"/>
              </a:ext>
            </a:extLst>
          </p:cNvPr>
          <p:cNvGrpSpPr/>
          <p:nvPr/>
        </p:nvGrpSpPr>
        <p:grpSpPr>
          <a:xfrm>
            <a:off x="2115370" y="1994004"/>
            <a:ext cx="7983561" cy="4209369"/>
            <a:chOff x="1490504" y="1626917"/>
            <a:chExt cx="6180255" cy="3258568"/>
          </a:xfrm>
        </p:grpSpPr>
        <p:sp>
          <p:nvSpPr>
            <p:cNvPr id="83" name="Pie 42">
              <a:extLst>
                <a:ext uri="{FF2B5EF4-FFF2-40B4-BE49-F238E27FC236}">
                  <a16:creationId xmlns:a16="http://schemas.microsoft.com/office/drawing/2014/main" id="{F6AE03EC-E7D5-F6EC-7C23-7F7FB6BA0045}"/>
                </a:ext>
              </a:extLst>
            </p:cNvPr>
            <p:cNvSpPr/>
            <p:nvPr/>
          </p:nvSpPr>
          <p:spPr>
            <a:xfrm>
              <a:off x="1490504" y="1626917"/>
              <a:ext cx="6180255" cy="3258568"/>
            </a:xfrm>
            <a:prstGeom prst="pie">
              <a:avLst>
                <a:gd name="adj1" fmla="val 18758353"/>
                <a:gd name="adj2" fmla="val 20443615"/>
              </a:avLst>
            </a:prstGeom>
            <a:solidFill>
              <a:srgbClr val="FFCC00">
                <a:alpha val="20000"/>
              </a:srgb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51199417-6426-EE87-9F90-E0AB9B4DF3E9}"/>
                </a:ext>
              </a:extLst>
            </p:cNvPr>
            <p:cNvSpPr txBox="1"/>
            <p:nvPr/>
          </p:nvSpPr>
          <p:spPr>
            <a:xfrm rot="1420300">
              <a:off x="5757817" y="2011065"/>
              <a:ext cx="1149341" cy="3696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SG" sz="2000" dirty="0">
                  <a:cs typeface="Arial" panose="020B0604020202020204" pitchFamily="34" charset="0"/>
                </a:rPr>
                <a:t>Commodity</a:t>
              </a:r>
            </a:p>
            <a:p>
              <a:pPr algn="ctr">
                <a:lnSpc>
                  <a:spcPts val="1400"/>
                </a:lnSpc>
              </a:pPr>
              <a:r>
                <a:rPr lang="en-SG" sz="2000" dirty="0">
                  <a:cs typeface="Arial" panose="020B0604020202020204" pitchFamily="34" charset="0"/>
                </a:rPr>
                <a:t>Approver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1B475C1-8E81-A5B6-7F19-4CEDD89805A0}"/>
              </a:ext>
            </a:extLst>
          </p:cNvPr>
          <p:cNvGrpSpPr/>
          <p:nvPr/>
        </p:nvGrpSpPr>
        <p:grpSpPr>
          <a:xfrm>
            <a:off x="2115370" y="1994806"/>
            <a:ext cx="7983561" cy="4209369"/>
            <a:chOff x="1490504" y="1627538"/>
            <a:chExt cx="6180255" cy="3258568"/>
          </a:xfrm>
        </p:grpSpPr>
        <p:sp>
          <p:nvSpPr>
            <p:cNvPr id="86" name="Pie 41">
              <a:extLst>
                <a:ext uri="{FF2B5EF4-FFF2-40B4-BE49-F238E27FC236}">
                  <a16:creationId xmlns:a16="http://schemas.microsoft.com/office/drawing/2014/main" id="{F5639EDA-08DB-7D17-BE5C-278DE3181C08}"/>
                </a:ext>
              </a:extLst>
            </p:cNvPr>
            <p:cNvSpPr/>
            <p:nvPr/>
          </p:nvSpPr>
          <p:spPr>
            <a:xfrm>
              <a:off x="1490504" y="1627538"/>
              <a:ext cx="6180255" cy="3258568"/>
            </a:xfrm>
            <a:prstGeom prst="pie">
              <a:avLst>
                <a:gd name="adj1" fmla="val 16184020"/>
                <a:gd name="adj2" fmla="val 18757585"/>
              </a:avLst>
            </a:prstGeom>
            <a:solidFill>
              <a:srgbClr val="FFCC00">
                <a:alpha val="50000"/>
              </a:srgb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AA86709C-FE28-83E0-874E-8288C73D9A8C}"/>
                </a:ext>
              </a:extLst>
            </p:cNvPr>
            <p:cNvSpPr txBox="1"/>
            <p:nvPr/>
          </p:nvSpPr>
          <p:spPr>
            <a:xfrm rot="433125">
              <a:off x="4726644" y="1735438"/>
              <a:ext cx="867453" cy="3696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SG" sz="2000" dirty="0">
                  <a:latin typeface="+mj-lt"/>
                  <a:cs typeface="Arial" panose="020B0604020202020204" pitchFamily="34" charset="0"/>
                </a:rPr>
                <a:t>Financial</a:t>
              </a:r>
            </a:p>
            <a:p>
              <a:pPr algn="ctr">
                <a:lnSpc>
                  <a:spcPts val="1400"/>
                </a:lnSpc>
              </a:pPr>
              <a:r>
                <a:rPr lang="en-SG" sz="2000" dirty="0">
                  <a:latin typeface="+mj-lt"/>
                  <a:cs typeface="Arial" panose="020B0604020202020204" pitchFamily="34" charset="0"/>
                </a:rPr>
                <a:t>Approver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3786202-27D1-F5E7-903B-D5C860BAD447}"/>
              </a:ext>
            </a:extLst>
          </p:cNvPr>
          <p:cNvGrpSpPr/>
          <p:nvPr/>
        </p:nvGrpSpPr>
        <p:grpSpPr>
          <a:xfrm>
            <a:off x="2099271" y="1994007"/>
            <a:ext cx="8015757" cy="4209367"/>
            <a:chOff x="1478041" y="1626919"/>
            <a:chExt cx="6205179" cy="3258566"/>
          </a:xfrm>
        </p:grpSpPr>
        <p:sp>
          <p:nvSpPr>
            <p:cNvPr id="89" name="Pie 40">
              <a:extLst>
                <a:ext uri="{FF2B5EF4-FFF2-40B4-BE49-F238E27FC236}">
                  <a16:creationId xmlns:a16="http://schemas.microsoft.com/office/drawing/2014/main" id="{6029202F-A399-8D53-3BA3-FA2914049DC1}"/>
                </a:ext>
              </a:extLst>
            </p:cNvPr>
            <p:cNvSpPr/>
            <p:nvPr/>
          </p:nvSpPr>
          <p:spPr>
            <a:xfrm>
              <a:off x="1478041" y="1626919"/>
              <a:ext cx="6205179" cy="3258566"/>
            </a:xfrm>
            <a:prstGeom prst="pie">
              <a:avLst>
                <a:gd name="adj1" fmla="val 13563867"/>
                <a:gd name="adj2" fmla="val 16188225"/>
              </a:avLst>
            </a:prstGeom>
            <a:solidFill>
              <a:srgbClr val="FFCC00">
                <a:alpha val="70000"/>
              </a:srgb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8BCC18C4-C1B8-596F-D5D9-423966F612CF}"/>
                </a:ext>
              </a:extLst>
            </p:cNvPr>
            <p:cNvSpPr txBox="1"/>
            <p:nvPr/>
          </p:nvSpPr>
          <p:spPr>
            <a:xfrm rot="21299745">
              <a:off x="3478728" y="1701628"/>
              <a:ext cx="973478" cy="3097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SG" sz="2000" dirty="0">
                  <a:latin typeface="+mj-lt"/>
                  <a:cs typeface="Arial" panose="020B0604020202020204" pitchFamily="34" charset="0"/>
                </a:rPr>
                <a:t>Requestor</a:t>
              </a:r>
              <a:endParaRPr lang="en-SG" sz="1200" dirty="0"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E28662EB-26DA-3313-9CFC-3F948AFA59D5}"/>
              </a:ext>
            </a:extLst>
          </p:cNvPr>
          <p:cNvGrpSpPr/>
          <p:nvPr/>
        </p:nvGrpSpPr>
        <p:grpSpPr>
          <a:xfrm>
            <a:off x="2076972" y="1994810"/>
            <a:ext cx="7983561" cy="4209365"/>
            <a:chOff x="992188" y="1628778"/>
            <a:chExt cx="7921625" cy="4176709"/>
          </a:xfrm>
        </p:grpSpPr>
        <p:sp>
          <p:nvSpPr>
            <p:cNvPr id="92" name="Pie 31">
              <a:extLst>
                <a:ext uri="{FF2B5EF4-FFF2-40B4-BE49-F238E27FC236}">
                  <a16:creationId xmlns:a16="http://schemas.microsoft.com/office/drawing/2014/main" id="{9E5AE877-59BB-0378-8B5C-56D4DD8A7682}"/>
                </a:ext>
              </a:extLst>
            </p:cNvPr>
            <p:cNvSpPr/>
            <p:nvPr/>
          </p:nvSpPr>
          <p:spPr>
            <a:xfrm>
              <a:off x="992188" y="1628778"/>
              <a:ext cx="7921625" cy="4176709"/>
            </a:xfrm>
            <a:prstGeom prst="pie">
              <a:avLst>
                <a:gd name="adj1" fmla="val 11615813"/>
                <a:gd name="adj2" fmla="val 13596800"/>
              </a:avLst>
            </a:prstGeom>
            <a:solidFill>
              <a:schemeClr val="accent1">
                <a:lumMod val="75000"/>
                <a:alpha val="2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1DCBD202-1BBF-2947-A420-4897C6289B59}"/>
                </a:ext>
              </a:extLst>
            </p:cNvPr>
            <p:cNvSpPr txBox="1"/>
            <p:nvPr/>
          </p:nvSpPr>
          <p:spPr>
            <a:xfrm rot="19725220">
              <a:off x="2108398" y="2374853"/>
              <a:ext cx="1782860" cy="1944214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algn="ctr"/>
              <a:r>
                <a:rPr lang="en-SG" sz="2000" b="1" dirty="0">
                  <a:latin typeface="+mj-lt"/>
                  <a:cs typeface="Arial" panose="020B0604020202020204" pitchFamily="34" charset="0"/>
                </a:rPr>
                <a:t>Buyer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5F008E13-C9BD-507E-0EDB-C70AD1F86A24}"/>
              </a:ext>
            </a:extLst>
          </p:cNvPr>
          <p:cNvGrpSpPr/>
          <p:nvPr/>
        </p:nvGrpSpPr>
        <p:grpSpPr>
          <a:xfrm>
            <a:off x="2076972" y="1994810"/>
            <a:ext cx="7983561" cy="4209367"/>
            <a:chOff x="992188" y="1628778"/>
            <a:chExt cx="7921625" cy="4176711"/>
          </a:xfrm>
        </p:grpSpPr>
        <p:sp>
          <p:nvSpPr>
            <p:cNvPr id="95" name="Pie 32">
              <a:extLst>
                <a:ext uri="{FF2B5EF4-FFF2-40B4-BE49-F238E27FC236}">
                  <a16:creationId xmlns:a16="http://schemas.microsoft.com/office/drawing/2014/main" id="{C5EB3FF1-1C9A-42F0-893D-953AD305F298}"/>
                </a:ext>
              </a:extLst>
            </p:cNvPr>
            <p:cNvSpPr/>
            <p:nvPr/>
          </p:nvSpPr>
          <p:spPr>
            <a:xfrm>
              <a:off x="992188" y="1628778"/>
              <a:ext cx="7921625" cy="4176711"/>
            </a:xfrm>
            <a:prstGeom prst="pie">
              <a:avLst>
                <a:gd name="adj1" fmla="val 9899611"/>
                <a:gd name="adj2" fmla="val 11613482"/>
              </a:avLst>
            </a:prstGeom>
            <a:solidFill>
              <a:schemeClr val="accent1">
                <a:lumMod val="75000"/>
                <a:alpha val="5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E90470E3-6628-E910-0844-A992730FFF71}"/>
                </a:ext>
              </a:extLst>
            </p:cNvPr>
            <p:cNvSpPr txBox="1"/>
            <p:nvPr/>
          </p:nvSpPr>
          <p:spPr>
            <a:xfrm>
              <a:off x="996268" y="3434360"/>
              <a:ext cx="1113715" cy="702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SG" sz="2000" b="1" dirty="0">
                  <a:cs typeface="Arial" panose="020B0604020202020204" pitchFamily="34" charset="0"/>
                </a:rPr>
                <a:t>Proc.</a:t>
              </a:r>
            </a:p>
            <a:p>
              <a:pPr algn="ctr"/>
              <a:r>
                <a:rPr lang="en-SG" sz="2000" b="1" dirty="0">
                  <a:cs typeface="Arial" panose="020B0604020202020204" pitchFamily="34" charset="0"/>
                </a:rPr>
                <a:t>Support</a:t>
              </a: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07DA8DC-0AF9-97A5-2772-10476656F220}"/>
              </a:ext>
            </a:extLst>
          </p:cNvPr>
          <p:cNvGrpSpPr/>
          <p:nvPr/>
        </p:nvGrpSpPr>
        <p:grpSpPr>
          <a:xfrm>
            <a:off x="2076972" y="1994806"/>
            <a:ext cx="7983561" cy="4209371"/>
            <a:chOff x="992188" y="1628774"/>
            <a:chExt cx="7921625" cy="4176715"/>
          </a:xfrm>
        </p:grpSpPr>
        <p:sp>
          <p:nvSpPr>
            <p:cNvPr id="98" name="Pie 33">
              <a:extLst>
                <a:ext uri="{FF2B5EF4-FFF2-40B4-BE49-F238E27FC236}">
                  <a16:creationId xmlns:a16="http://schemas.microsoft.com/office/drawing/2014/main" id="{2973B346-5490-7DD9-807E-B6B469AC985D}"/>
                </a:ext>
              </a:extLst>
            </p:cNvPr>
            <p:cNvSpPr/>
            <p:nvPr/>
          </p:nvSpPr>
          <p:spPr>
            <a:xfrm>
              <a:off x="992188" y="1628774"/>
              <a:ext cx="7921625" cy="4176715"/>
            </a:xfrm>
            <a:prstGeom prst="pie">
              <a:avLst>
                <a:gd name="adj1" fmla="val 8004917"/>
                <a:gd name="adj2" fmla="val 9902617"/>
              </a:avLst>
            </a:prstGeom>
            <a:solidFill>
              <a:schemeClr val="accent1">
                <a:lumMod val="75000"/>
                <a:alpha val="7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5629F96B-2748-D29C-A8F9-06B3F219A3FC}"/>
                </a:ext>
              </a:extLst>
            </p:cNvPr>
            <p:cNvSpPr txBox="1"/>
            <p:nvPr/>
          </p:nvSpPr>
          <p:spPr>
            <a:xfrm rot="1544725">
              <a:off x="1878971" y="3097561"/>
              <a:ext cx="2241713" cy="1944214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en-SG" b="1" dirty="0">
                  <a:cs typeface="Arial" panose="020B0604020202020204" pitchFamily="34" charset="0"/>
                </a:rPr>
                <a:t>Category</a:t>
              </a:r>
            </a:p>
            <a:p>
              <a:pPr algn="ctr"/>
              <a:r>
                <a:rPr lang="en-SG" b="1" dirty="0">
                  <a:cs typeface="Arial" panose="020B0604020202020204" pitchFamily="34" charset="0"/>
                </a:rPr>
                <a:t>Manager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E36B66E6-75C8-4EFB-C677-4FEDE5C555DB}"/>
              </a:ext>
            </a:extLst>
          </p:cNvPr>
          <p:cNvGrpSpPr/>
          <p:nvPr/>
        </p:nvGrpSpPr>
        <p:grpSpPr>
          <a:xfrm>
            <a:off x="3203135" y="2575576"/>
            <a:ext cx="5805080" cy="3047832"/>
            <a:chOff x="2073275" y="2205038"/>
            <a:chExt cx="5760045" cy="3024187"/>
          </a:xfrm>
        </p:grpSpPr>
        <p:sp>
          <p:nvSpPr>
            <p:cNvPr id="101" name="Pie 25">
              <a:extLst>
                <a:ext uri="{FF2B5EF4-FFF2-40B4-BE49-F238E27FC236}">
                  <a16:creationId xmlns:a16="http://schemas.microsoft.com/office/drawing/2014/main" id="{706DEC8B-39BF-4871-6DB5-4CEA8B52A041}"/>
                </a:ext>
              </a:extLst>
            </p:cNvPr>
            <p:cNvSpPr/>
            <p:nvPr/>
          </p:nvSpPr>
          <p:spPr>
            <a:xfrm>
              <a:off x="2073275" y="2205038"/>
              <a:ext cx="5760045" cy="3024187"/>
            </a:xfrm>
            <a:prstGeom prst="pie">
              <a:avLst>
                <a:gd name="adj1" fmla="val 20453992"/>
                <a:gd name="adj2" fmla="val 2792811"/>
              </a:avLst>
            </a:prstGeom>
            <a:solidFill>
              <a:srgbClr val="00B050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E746A282-8EB7-3809-B019-3BAE59BA72FF}"/>
                </a:ext>
              </a:extLst>
            </p:cNvPr>
            <p:cNvSpPr txBox="1"/>
            <p:nvPr/>
          </p:nvSpPr>
          <p:spPr>
            <a:xfrm rot="17142365">
              <a:off x="4632851" y="2375369"/>
              <a:ext cx="2408830" cy="2617600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>
                  <a:gd name="adj" fmla="val 21593006"/>
                </a:avLst>
              </a:prstTxWarp>
              <a:spAutoFit/>
            </a:bodyPr>
            <a:lstStyle/>
            <a:p>
              <a:pPr algn="ctr"/>
              <a:r>
                <a:rPr lang="en-SG" b="1" dirty="0">
                  <a:cs typeface="Arial" panose="020B0604020202020204" pitchFamily="34" charset="0"/>
                </a:rPr>
                <a:t>Support Functions</a:t>
              </a: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D6094BCF-B3E8-247D-ED9D-853D69F071D3}"/>
              </a:ext>
            </a:extLst>
          </p:cNvPr>
          <p:cNvGrpSpPr/>
          <p:nvPr/>
        </p:nvGrpSpPr>
        <p:grpSpPr>
          <a:xfrm>
            <a:off x="3198568" y="2561850"/>
            <a:ext cx="5804480" cy="3047832"/>
            <a:chOff x="2304216" y="2077125"/>
            <a:chExt cx="4493379" cy="2359396"/>
          </a:xfrm>
        </p:grpSpPr>
        <p:sp>
          <p:nvSpPr>
            <p:cNvPr id="104" name="Pie 26">
              <a:extLst>
                <a:ext uri="{FF2B5EF4-FFF2-40B4-BE49-F238E27FC236}">
                  <a16:creationId xmlns:a16="http://schemas.microsoft.com/office/drawing/2014/main" id="{D4E76D50-824B-40EC-2A64-51FD86D4E167}"/>
                </a:ext>
              </a:extLst>
            </p:cNvPr>
            <p:cNvSpPr/>
            <p:nvPr/>
          </p:nvSpPr>
          <p:spPr>
            <a:xfrm>
              <a:off x="2304216" y="2077125"/>
              <a:ext cx="4493379" cy="2359396"/>
            </a:xfrm>
            <a:prstGeom prst="pie">
              <a:avLst>
                <a:gd name="adj1" fmla="val 13606344"/>
                <a:gd name="adj2" fmla="val 20455373"/>
              </a:avLst>
            </a:prstGeom>
            <a:solidFill>
              <a:srgbClr val="FFCC00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tx1"/>
                </a:solidFill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81DE3A5E-1ED0-9B26-3912-184BC019F217}"/>
                </a:ext>
              </a:extLst>
            </p:cNvPr>
            <p:cNvSpPr txBox="1"/>
            <p:nvPr/>
          </p:nvSpPr>
          <p:spPr>
            <a:xfrm rot="486850">
              <a:off x="4357170" y="2231163"/>
              <a:ext cx="1300138" cy="2859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SG" b="1" dirty="0">
                  <a:cs typeface="Arial" panose="020B0604020202020204" pitchFamily="34" charset="0"/>
                </a:rPr>
                <a:t>Business User</a:t>
              </a: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C7CAB435-388B-47A4-29E5-713E1B2D027E}"/>
              </a:ext>
            </a:extLst>
          </p:cNvPr>
          <p:cNvGrpSpPr/>
          <p:nvPr/>
        </p:nvGrpSpPr>
        <p:grpSpPr>
          <a:xfrm>
            <a:off x="3161937" y="2570997"/>
            <a:ext cx="5804480" cy="3047832"/>
            <a:chOff x="2073275" y="2205038"/>
            <a:chExt cx="5759450" cy="3024187"/>
          </a:xfrm>
        </p:grpSpPr>
        <p:sp>
          <p:nvSpPr>
            <p:cNvPr id="107" name="Pie 10">
              <a:extLst>
                <a:ext uri="{FF2B5EF4-FFF2-40B4-BE49-F238E27FC236}">
                  <a16:creationId xmlns:a16="http://schemas.microsoft.com/office/drawing/2014/main" id="{7037F1EA-5267-53A9-425C-0512AD383140}"/>
                </a:ext>
              </a:extLst>
            </p:cNvPr>
            <p:cNvSpPr/>
            <p:nvPr/>
          </p:nvSpPr>
          <p:spPr>
            <a:xfrm>
              <a:off x="2073275" y="2205038"/>
              <a:ext cx="5759450" cy="3024187"/>
            </a:xfrm>
            <a:prstGeom prst="pie">
              <a:avLst>
                <a:gd name="adj1" fmla="val 8004469"/>
                <a:gd name="adj2" fmla="val 13610507"/>
              </a:avLst>
            </a:prstGeom>
            <a:solidFill>
              <a:schemeClr val="accent1">
                <a:lumMod val="7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Circle">
                <a:avLst/>
              </a:prstTxWarp>
            </a:bodyPr>
            <a:lstStyle/>
            <a:p>
              <a:pPr algn="ctr"/>
              <a:endParaRPr lang="en-SG" sz="1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D475AC2F-15F5-AB9F-6760-7B78BFCC1105}"/>
                </a:ext>
              </a:extLst>
            </p:cNvPr>
            <p:cNvSpPr txBox="1"/>
            <p:nvPr/>
          </p:nvSpPr>
          <p:spPr>
            <a:xfrm rot="16200000">
              <a:off x="2981450" y="2492202"/>
              <a:ext cx="1782860" cy="2448272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algn="ctr"/>
              <a:r>
                <a:rPr lang="en-SG" sz="2000" b="1" dirty="0">
                  <a:solidFill>
                    <a:srgbClr val="FFFF00"/>
                  </a:solidFill>
                  <a:cs typeface="Arial" panose="020B0604020202020204" pitchFamily="34" charset="0"/>
                </a:rPr>
                <a:t>Procurement</a:t>
              </a:r>
            </a:p>
          </p:txBody>
        </p:sp>
      </p:grpSp>
      <p:sp>
        <p:nvSpPr>
          <p:cNvPr id="109" name="Pie 8">
            <a:extLst>
              <a:ext uri="{FF2B5EF4-FFF2-40B4-BE49-F238E27FC236}">
                <a16:creationId xmlns:a16="http://schemas.microsoft.com/office/drawing/2014/main" id="{9F18DB02-208F-208A-48AD-F263C2BDCCD4}"/>
              </a:ext>
            </a:extLst>
          </p:cNvPr>
          <p:cNvSpPr/>
          <p:nvPr/>
        </p:nvSpPr>
        <p:spPr>
          <a:xfrm>
            <a:off x="4254451" y="3156518"/>
            <a:ext cx="3628600" cy="1886297"/>
          </a:xfrm>
          <a:prstGeom prst="pie">
            <a:avLst>
              <a:gd name="adj1" fmla="val 2788602"/>
              <a:gd name="adj2" fmla="val 8005304"/>
            </a:avLst>
          </a:prstGeom>
          <a:solidFill>
            <a:schemeClr val="bg1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 anchorCtr="0">
            <a:prstTxWarp prst="textArchDown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SG" sz="20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External</a:t>
            </a:r>
            <a:endParaRPr lang="en-SG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10" name="Pie 9">
            <a:extLst>
              <a:ext uri="{FF2B5EF4-FFF2-40B4-BE49-F238E27FC236}">
                <a16:creationId xmlns:a16="http://schemas.microsoft.com/office/drawing/2014/main" id="{F4B9C553-653E-ED14-30F9-BBFD69AEC7DC}"/>
              </a:ext>
            </a:extLst>
          </p:cNvPr>
          <p:cNvSpPr/>
          <p:nvPr/>
        </p:nvSpPr>
        <p:spPr>
          <a:xfrm>
            <a:off x="4254451" y="3156345"/>
            <a:ext cx="3628600" cy="1886295"/>
          </a:xfrm>
          <a:prstGeom prst="pie">
            <a:avLst>
              <a:gd name="adj1" fmla="val 8009473"/>
              <a:gd name="adj2" fmla="val 2785792"/>
            </a:avLst>
          </a:prstGeom>
          <a:solidFill>
            <a:schemeClr val="accent1">
              <a:lumMod val="40000"/>
              <a:lumOff val="6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0" rtlCol="0" anchor="ctr">
            <a:prstTxWarp prst="textArchUp">
              <a:avLst/>
            </a:prstTxWarp>
          </a:bodyPr>
          <a:lstStyle/>
          <a:p>
            <a:pPr algn="ctr">
              <a:spcBef>
                <a:spcPts val="2400"/>
              </a:spcBef>
            </a:pPr>
            <a:r>
              <a:rPr lang="en-SG" sz="2000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Company (internal)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1BFF4047-03AA-E246-3A78-3BA24CAB4186}"/>
              </a:ext>
            </a:extLst>
          </p:cNvPr>
          <p:cNvSpPr/>
          <p:nvPr/>
        </p:nvSpPr>
        <p:spPr>
          <a:xfrm>
            <a:off x="5342391" y="3737112"/>
            <a:ext cx="1452719" cy="72476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/>
            <a:lightRig rig="threePt" dir="t"/>
          </a:scene3d>
          <a:sp3d>
            <a:bevelT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36000"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pp. X</a:t>
            </a:r>
          </a:p>
        </p:txBody>
      </p:sp>
    </p:spTree>
    <p:extLst>
      <p:ext uri="{BB962C8B-B14F-4D97-AF65-F5344CB8AC3E}">
        <p14:creationId xmlns:p14="http://schemas.microsoft.com/office/powerpoint/2010/main" val="18855139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99906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1288A-6555-061E-D6F9-BB13CB616B5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SI Matrix – Supplement to Stakeholder Map</a:t>
            </a: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15530D4-B1A7-3CED-BD7D-245F5F0A72A6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989138"/>
          <a:ext cx="11485565" cy="416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12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422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981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33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511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Stakehold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1" dirty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SG" sz="16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esponsibl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1" dirty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S</a:t>
                      </a:r>
                      <a:r>
                        <a:rPr lang="en-SG" sz="16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uppor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1" dirty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I</a:t>
                      </a:r>
                      <a:r>
                        <a:rPr lang="en-SG" sz="16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nform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062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Requestor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  <a:tabLst/>
                      </a:pPr>
                      <a:r>
                        <a:rPr lang="en-SG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•	Raise </a:t>
                      </a:r>
                      <a:r>
                        <a:rPr lang="en-SG" sz="16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PR to initiate purchase</a:t>
                      </a:r>
                    </a:p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  <a:tabLst/>
                      </a:pPr>
                      <a:r>
                        <a:rPr lang="en-SG" sz="16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•	Receive and acknowledge receipt via Receipt (GRN)</a:t>
                      </a:r>
                    </a:p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  <a:tabLst/>
                      </a:pPr>
                      <a:r>
                        <a:rPr lang="en-SG" sz="16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•	Specify and describe the required goods/services sufficiently to enable Procurement to conduct tactical sourcing</a:t>
                      </a:r>
                    </a:p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  <a:tabLst/>
                      </a:pPr>
                      <a:r>
                        <a:rPr lang="en-SG" sz="16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•	Select the most suitable vendor presented by Procurement following a sourcing event</a:t>
                      </a:r>
                    </a:p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  <a:tabLst/>
                      </a:pPr>
                      <a:r>
                        <a:rPr lang="en-SG" sz="16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•	Secure quotations from vendors for one-time and low-value purchases</a:t>
                      </a:r>
                    </a:p>
                  </a:txBody>
                  <a:tcPr marL="72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•	Approval</a:t>
                      </a:r>
                      <a:r>
                        <a:rPr lang="en-SG" sz="16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of PR by Financial Approver</a:t>
                      </a:r>
                    </a:p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•	Clarify queries from vendors on the specification and requirement of goods/services</a:t>
                      </a:r>
                    </a:p>
                  </a:txBody>
                  <a:tcPr marL="72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•	Status</a:t>
                      </a:r>
                      <a:r>
                        <a:rPr lang="en-SG" sz="16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of PR approval</a:t>
                      </a:r>
                    </a:p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•	PO placed by </a:t>
                      </a:r>
                      <a:r>
                        <a:rPr lang="en-SG" sz="1600" b="0" i="1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App. X</a:t>
                      </a:r>
                      <a:endParaRPr lang="en-SG" sz="1600" b="0" i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1006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Financial Approver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•	Approve/Reject</a:t>
                      </a:r>
                      <a:r>
                        <a:rPr lang="en-SG" sz="16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requests for purchases based on business needs (fit, timing, budget, etc.)</a:t>
                      </a:r>
                      <a:endParaRPr lang="en-SG" sz="16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72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•	Status of PR and PO</a:t>
                      </a:r>
                    </a:p>
                  </a:txBody>
                  <a:tcPr marL="72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1006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Commodity Approver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•	Approve/Reject</a:t>
                      </a:r>
                      <a:r>
                        <a:rPr lang="en-SG" sz="16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PR based on fit to </a:t>
                      </a:r>
                      <a:r>
                        <a:rPr lang="en-SG" sz="1600" b="0" i="1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’s</a:t>
                      </a:r>
                      <a:r>
                        <a:rPr lang="en-SG" sz="16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technical standard for the commodity</a:t>
                      </a:r>
                      <a:endParaRPr lang="en-SG" sz="16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72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300"/>
                        </a:spcBef>
                        <a:spcAft>
                          <a:spcPts val="100"/>
                        </a:spcAft>
                      </a:pPr>
                      <a:r>
                        <a:rPr lang="en-SG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72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93422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049822-DD56-9C4B-C6F7-3F60CD1FB25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Program Roadmap – Core of the PGF</a:t>
            </a:r>
            <a:endParaRPr lang="en-US" dirty="0"/>
          </a:p>
        </p:txBody>
      </p:sp>
      <p:sp>
        <p:nvSpPr>
          <p:cNvPr id="4" name="Google Shape;67;p7">
            <a:extLst>
              <a:ext uri="{FF2B5EF4-FFF2-40B4-BE49-F238E27FC236}">
                <a16:creationId xmlns:a16="http://schemas.microsoft.com/office/drawing/2014/main" id="{AA7AC251-5C54-2167-0389-916850414E24}"/>
              </a:ext>
            </a:extLst>
          </p:cNvPr>
          <p:cNvSpPr txBox="1"/>
          <p:nvPr/>
        </p:nvSpPr>
        <p:spPr>
          <a:xfrm>
            <a:off x="4696301" y="3008159"/>
            <a:ext cx="2452301" cy="1284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87313" lvl="0" indent="-87313"/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</a:t>
            </a:r>
            <a:r>
              <a:rPr lang="en-US" sz="1400" dirty="0"/>
              <a:t> Level 0 Process map</a:t>
            </a: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 </a:t>
            </a:r>
          </a:p>
          <a:p>
            <a:pPr marL="87313" lvl="0" indent="-87313">
              <a:spcBef>
                <a:spcPts val="300"/>
              </a:spcBef>
            </a:pPr>
            <a:r>
              <a:rPr lang="en-US" sz="1400" dirty="0"/>
              <a:t>•  </a:t>
            </a: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Change communication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Business test management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System &amp; content languages</a:t>
            </a:r>
          </a:p>
        </p:txBody>
      </p:sp>
      <p:sp>
        <p:nvSpPr>
          <p:cNvPr id="5" name="Google Shape;68;p7">
            <a:extLst>
              <a:ext uri="{FF2B5EF4-FFF2-40B4-BE49-F238E27FC236}">
                <a16:creationId xmlns:a16="http://schemas.microsoft.com/office/drawing/2014/main" id="{096EFF59-9C21-0226-9528-F911046CC583}"/>
              </a:ext>
            </a:extLst>
          </p:cNvPr>
          <p:cNvSpPr txBox="1"/>
          <p:nvPr/>
        </p:nvSpPr>
        <p:spPr>
          <a:xfrm>
            <a:off x="7148603" y="3008159"/>
            <a:ext cx="3022919" cy="15773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87313" marR="0" lvl="0" indent="-87313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User manuals &amp; guides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Data ownership </a:t>
            </a:r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Training approach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Support model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User &amp; master data management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Production</a:t>
            </a:r>
            <a:r>
              <a:rPr lang="en-US" sz="1400" dirty="0">
                <a:ea typeface="Arial"/>
                <a:cs typeface="Arial"/>
                <a:sym typeface="Arial"/>
              </a:rPr>
              <a:t>-</a:t>
            </a: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Test instances</a:t>
            </a:r>
            <a:endParaRPr sz="1400" dirty="0"/>
          </a:p>
        </p:txBody>
      </p:sp>
      <p:sp>
        <p:nvSpPr>
          <p:cNvPr id="6" name="Google Shape;69;p7">
            <a:extLst>
              <a:ext uri="{FF2B5EF4-FFF2-40B4-BE49-F238E27FC236}">
                <a16:creationId xmlns:a16="http://schemas.microsoft.com/office/drawing/2014/main" id="{15D1345E-4464-ED0C-79DF-92D1A6A34F59}"/>
              </a:ext>
            </a:extLst>
          </p:cNvPr>
          <p:cNvSpPr txBox="1"/>
          <p:nvPr/>
        </p:nvSpPr>
        <p:spPr>
          <a:xfrm>
            <a:off x="2386055" y="3008159"/>
            <a:ext cx="2310245" cy="1284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87313" marR="0" lvl="0" indent="-87313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Application roadmap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Intended business process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BRS / CR process</a:t>
            </a:r>
          </a:p>
          <a:p>
            <a:pPr marL="87313" lvl="0" indent="-87313">
              <a:spcBef>
                <a:spcPts val="300"/>
              </a:spcBef>
            </a:pPr>
            <a:r>
              <a:rPr lang="en-US" sz="1400" dirty="0"/>
              <a:t>•	 Central / Joint governance</a:t>
            </a:r>
            <a:endParaRPr sz="1400" dirty="0"/>
          </a:p>
        </p:txBody>
      </p:sp>
      <p:cxnSp>
        <p:nvCxnSpPr>
          <p:cNvPr id="7" name="Google Shape;70;p7">
            <a:extLst>
              <a:ext uri="{FF2B5EF4-FFF2-40B4-BE49-F238E27FC236}">
                <a16:creationId xmlns:a16="http://schemas.microsoft.com/office/drawing/2014/main" id="{76482FF1-5441-816D-FB77-86C2B780D5C6}"/>
              </a:ext>
            </a:extLst>
          </p:cNvPr>
          <p:cNvCxnSpPr>
            <a:cxnSpLocks/>
          </p:cNvCxnSpPr>
          <p:nvPr/>
        </p:nvCxnSpPr>
        <p:spPr>
          <a:xfrm flipH="1">
            <a:off x="8002575" y="2430771"/>
            <a:ext cx="1426285" cy="2510018"/>
          </a:xfrm>
          <a:prstGeom prst="bentConnector3">
            <a:avLst>
              <a:gd name="adj1" fmla="val -56405"/>
            </a:avLst>
          </a:prstGeom>
          <a:noFill/>
          <a:ln w="152400" cap="flat" cmpd="sng">
            <a:solidFill>
              <a:schemeClr val="bg2">
                <a:lumMod val="7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8" name="Google Shape;73;p7">
            <a:extLst>
              <a:ext uri="{FF2B5EF4-FFF2-40B4-BE49-F238E27FC236}">
                <a16:creationId xmlns:a16="http://schemas.microsoft.com/office/drawing/2014/main" id="{8F39719E-A31F-6126-2518-1AD9BABBF994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2705699" y="2430770"/>
            <a:ext cx="1024910" cy="2510018"/>
          </a:xfrm>
          <a:prstGeom prst="bentConnector3">
            <a:avLst>
              <a:gd name="adj1" fmla="val -89811"/>
            </a:avLst>
          </a:prstGeom>
          <a:noFill/>
          <a:ln w="152400" cap="flat" cmpd="sng">
            <a:solidFill>
              <a:schemeClr val="bg2">
                <a:lumMod val="7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" name="Google Shape;75;p7">
            <a:extLst>
              <a:ext uri="{FF2B5EF4-FFF2-40B4-BE49-F238E27FC236}">
                <a16:creationId xmlns:a16="http://schemas.microsoft.com/office/drawing/2014/main" id="{090F2320-C45C-32C9-94B7-98B0C8712A0A}"/>
              </a:ext>
            </a:extLst>
          </p:cNvPr>
          <p:cNvSpPr/>
          <p:nvPr/>
        </p:nvSpPr>
        <p:spPr>
          <a:xfrm>
            <a:off x="4724504" y="1989138"/>
            <a:ext cx="2394851" cy="883266"/>
          </a:xfrm>
          <a:prstGeom prst="chevron">
            <a:avLst>
              <a:gd name="adj" fmla="val 37700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2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1" i="1" u="none" strike="noStrike" cap="none" dirty="0"/>
              <a:t>Build</a:t>
            </a:r>
            <a:endParaRPr sz="1050" b="1" i="1" u="none" strike="noStrike" cap="none" dirty="0"/>
          </a:p>
          <a:p>
            <a:pPr marL="0" marR="0" lvl="0" indent="0" algn="ctr" rtl="0">
              <a:spcAft>
                <a:spcPts val="0"/>
              </a:spcAft>
              <a:buNone/>
            </a:pPr>
            <a:r>
              <a:rPr lang="en-US" sz="1400" b="1" i="1" u="none" strike="noStrike" cap="none" dirty="0">
                <a:latin typeface="Arial"/>
                <a:ea typeface="Arial"/>
                <a:cs typeface="Arial"/>
                <a:sym typeface="Arial"/>
              </a:rPr>
              <a:t>Acquire, Implement</a:t>
            </a:r>
            <a:endParaRPr sz="1600" dirty="0"/>
          </a:p>
        </p:txBody>
      </p:sp>
      <p:sp>
        <p:nvSpPr>
          <p:cNvPr id="10" name="Google Shape;71;p7">
            <a:extLst>
              <a:ext uri="{FF2B5EF4-FFF2-40B4-BE49-F238E27FC236}">
                <a16:creationId xmlns:a16="http://schemas.microsoft.com/office/drawing/2014/main" id="{5C6A9869-93F3-735E-0909-D7461F70D5FC}"/>
              </a:ext>
            </a:extLst>
          </p:cNvPr>
          <p:cNvSpPr/>
          <p:nvPr/>
        </p:nvSpPr>
        <p:spPr>
          <a:xfrm>
            <a:off x="7120401" y="1989138"/>
            <a:ext cx="2394851" cy="883266"/>
          </a:xfrm>
          <a:prstGeom prst="chevron">
            <a:avLst>
              <a:gd name="adj" fmla="val 37700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2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1" i="1" u="none" strike="noStrike" cap="none" dirty="0"/>
              <a:t>Run</a:t>
            </a:r>
            <a:endParaRPr sz="1050" b="1" i="1" u="none" strike="noStrike" cap="none" dirty="0"/>
          </a:p>
          <a:p>
            <a:pPr marL="0" marR="0" lvl="0" indent="0" algn="ctr" rtl="0">
              <a:spcAft>
                <a:spcPts val="0"/>
              </a:spcAft>
              <a:buNone/>
            </a:pPr>
            <a:r>
              <a:rPr lang="en-US" sz="1400" b="1" i="1" u="none" strike="noStrike" cap="none" dirty="0">
                <a:latin typeface="Arial"/>
                <a:ea typeface="Arial"/>
                <a:cs typeface="Arial"/>
                <a:sym typeface="Arial"/>
              </a:rPr>
              <a:t>Deliver, Support</a:t>
            </a:r>
            <a:endParaRPr sz="1600" dirty="0"/>
          </a:p>
        </p:txBody>
      </p:sp>
      <p:sp>
        <p:nvSpPr>
          <p:cNvPr id="11" name="Google Shape;74;p7">
            <a:extLst>
              <a:ext uri="{FF2B5EF4-FFF2-40B4-BE49-F238E27FC236}">
                <a16:creationId xmlns:a16="http://schemas.microsoft.com/office/drawing/2014/main" id="{E153FE9C-C4D8-88E2-9B16-7EBBE9BC3927}"/>
              </a:ext>
            </a:extLst>
          </p:cNvPr>
          <p:cNvSpPr/>
          <p:nvPr/>
        </p:nvSpPr>
        <p:spPr>
          <a:xfrm>
            <a:off x="2357855" y="1989138"/>
            <a:ext cx="2394851" cy="883266"/>
          </a:xfrm>
          <a:prstGeom prst="chevron">
            <a:avLst>
              <a:gd name="adj" fmla="val 37700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2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1" i="1" u="none" strike="noStrike" cap="none" dirty="0"/>
              <a:t>Design</a:t>
            </a:r>
            <a:endParaRPr sz="1400" b="1" i="1" u="none" strike="noStrike" cap="none" dirty="0"/>
          </a:p>
          <a:p>
            <a:pPr marL="0" marR="0" lvl="0" indent="0" algn="ctr" rtl="0">
              <a:spcAft>
                <a:spcPts val="0"/>
              </a:spcAft>
              <a:buNone/>
            </a:pPr>
            <a:r>
              <a:rPr lang="en-US" sz="1400" b="1" i="1" u="none" strike="noStrike" cap="none" dirty="0">
                <a:ea typeface="Arial"/>
                <a:cs typeface="Arial"/>
                <a:sym typeface="Arial"/>
              </a:rPr>
              <a:t>Plan, Organize</a:t>
            </a:r>
            <a:endParaRPr sz="1600" dirty="0"/>
          </a:p>
        </p:txBody>
      </p:sp>
      <p:sp>
        <p:nvSpPr>
          <p:cNvPr id="12" name="Google Shape;72;p7">
            <a:extLst>
              <a:ext uri="{FF2B5EF4-FFF2-40B4-BE49-F238E27FC236}">
                <a16:creationId xmlns:a16="http://schemas.microsoft.com/office/drawing/2014/main" id="{BC3D40E1-E14A-E0B8-A7D9-FCC25A8C7415}"/>
              </a:ext>
            </a:extLst>
          </p:cNvPr>
          <p:cNvSpPr/>
          <p:nvPr/>
        </p:nvSpPr>
        <p:spPr>
          <a:xfrm flipH="1">
            <a:off x="3555278" y="4689206"/>
            <a:ext cx="4733297" cy="503166"/>
          </a:xfrm>
          <a:prstGeom prst="chevron">
            <a:avLst>
              <a:gd name="adj" fmla="val 37700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2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1" u="none" strike="noStrike" cap="none" dirty="0"/>
              <a:t>Measure, Monitor &amp; Optimize</a:t>
            </a:r>
            <a:endParaRPr b="1" i="1" u="none" strike="noStrike" cap="none" dirty="0"/>
          </a:p>
        </p:txBody>
      </p:sp>
      <p:sp>
        <p:nvSpPr>
          <p:cNvPr id="13" name="Google Shape;76;p7">
            <a:extLst>
              <a:ext uri="{FF2B5EF4-FFF2-40B4-BE49-F238E27FC236}">
                <a16:creationId xmlns:a16="http://schemas.microsoft.com/office/drawing/2014/main" id="{836EA206-E1F5-81BF-E038-2414BC2C45F4}"/>
              </a:ext>
            </a:extLst>
          </p:cNvPr>
          <p:cNvSpPr txBox="1"/>
          <p:nvPr/>
        </p:nvSpPr>
        <p:spPr>
          <a:xfrm>
            <a:off x="3555278" y="5228099"/>
            <a:ext cx="2339612" cy="815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87313" marR="0" lvl="0" indent="-87313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Users’ survey &amp; feedback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Knowledge exchange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Budget management</a:t>
            </a:r>
            <a:endParaRPr sz="1400" dirty="0"/>
          </a:p>
        </p:txBody>
      </p:sp>
      <p:sp>
        <p:nvSpPr>
          <p:cNvPr id="14" name="Google Shape;77;p7">
            <a:extLst>
              <a:ext uri="{FF2B5EF4-FFF2-40B4-BE49-F238E27FC236}">
                <a16:creationId xmlns:a16="http://schemas.microsoft.com/office/drawing/2014/main" id="{EEBA00BE-11F0-5B84-F3E2-CF17F1C495F3}"/>
              </a:ext>
            </a:extLst>
          </p:cNvPr>
          <p:cNvSpPr txBox="1"/>
          <p:nvPr/>
        </p:nvSpPr>
        <p:spPr>
          <a:xfrm>
            <a:off x="6175412" y="5228099"/>
            <a:ext cx="2638650" cy="1069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87313" marR="0" lvl="0" indent="-87313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Stakeholder Map &amp; RSI matrix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Risk management &amp; BCP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Integration management</a:t>
            </a:r>
          </a:p>
          <a:p>
            <a:pPr marL="87313" lvl="0" indent="-87313">
              <a:spcBef>
                <a:spcPts val="300"/>
              </a:spcBef>
            </a:pPr>
            <a:r>
              <a:rPr lang="en-US" sz="1400" dirty="0"/>
              <a:t>•	 Support tickets analysis</a:t>
            </a:r>
            <a:endParaRPr sz="1400" dirty="0"/>
          </a:p>
        </p:txBody>
      </p:sp>
    </p:spTree>
    <p:extLst>
      <p:ext uri="{BB962C8B-B14F-4D97-AF65-F5344CB8AC3E}">
        <p14:creationId xmlns:p14="http://schemas.microsoft.com/office/powerpoint/2010/main" val="2048328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5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25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0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75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9750"/>
                            </p:stCondLst>
                            <p:childTnLst>
                              <p:par>
                                <p:cTn id="3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250"/>
                            </p:stCondLst>
                            <p:childTnLst>
                              <p:par>
                                <p:cTn id="37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000"/>
                            </p:stCondLst>
                            <p:childTnLst>
                              <p:par>
                                <p:cTn id="41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175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9" grpId="0" animBg="1"/>
      <p:bldP spid="10" grpId="0" animBg="1"/>
      <p:bldP spid="11" grpId="0" animBg="1"/>
      <p:bldP spid="12" grpId="0" animBg="1"/>
      <p:bldP spid="13" grpId="0"/>
      <p:bldP spid="1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DFA1F-EFBD-3E8B-D3D0-962E3A65C15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ogram Roadmap – Adapted for AI</a:t>
            </a:r>
            <a:endParaRPr lang="en-US" dirty="0"/>
          </a:p>
        </p:txBody>
      </p:sp>
      <p:sp>
        <p:nvSpPr>
          <p:cNvPr id="5" name="Google Shape;67;p7">
            <a:extLst>
              <a:ext uri="{FF2B5EF4-FFF2-40B4-BE49-F238E27FC236}">
                <a16:creationId xmlns:a16="http://schemas.microsoft.com/office/drawing/2014/main" id="{AED4517D-D037-8739-F3A4-A01E4A904035}"/>
              </a:ext>
            </a:extLst>
          </p:cNvPr>
          <p:cNvSpPr txBox="1"/>
          <p:nvPr/>
        </p:nvSpPr>
        <p:spPr>
          <a:xfrm>
            <a:off x="4696301" y="3008159"/>
            <a:ext cx="2452301" cy="815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87313" lvl="0" indent="-87313"/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</a:t>
            </a:r>
            <a:r>
              <a:rPr lang="en-US" sz="1400" dirty="0"/>
              <a:t> </a:t>
            </a:r>
            <a:r>
              <a:rPr lang="en-US" sz="1400" b="1" dirty="0">
                <a:solidFill>
                  <a:srgbClr val="0063C6"/>
                </a:solidFill>
              </a:rPr>
              <a:t>‘Golden’ questions</a:t>
            </a:r>
          </a:p>
          <a:p>
            <a:pPr marL="87313" lvl="0" indent="-87313">
              <a:spcBef>
                <a:spcPts val="300"/>
              </a:spcBef>
            </a:pPr>
            <a:r>
              <a:rPr lang="en-US" sz="1400" dirty="0">
                <a:ea typeface="Arial"/>
                <a:cs typeface="Arial"/>
                <a:sym typeface="Arial"/>
              </a:rPr>
              <a:t>•	</a:t>
            </a:r>
            <a:r>
              <a:rPr lang="en-US" sz="1400" dirty="0"/>
              <a:t> </a:t>
            </a:r>
            <a:r>
              <a:rPr lang="en-US" sz="1400" b="1" dirty="0">
                <a:solidFill>
                  <a:srgbClr val="0063C6"/>
                </a:solidFill>
              </a:rPr>
              <a:t>Model parameters</a:t>
            </a:r>
            <a:endParaRPr lang="en-US" sz="1400" b="1" i="0" u="none" strike="noStrike" cap="none" dirty="0">
              <a:solidFill>
                <a:srgbClr val="0063C6"/>
              </a:solidFill>
              <a:ea typeface="Arial"/>
              <a:cs typeface="Arial"/>
              <a:sym typeface="Arial"/>
            </a:endParaRPr>
          </a:p>
          <a:p>
            <a:pPr marL="87313" lvl="0" indent="-87313">
              <a:spcBef>
                <a:spcPts val="300"/>
              </a:spcBef>
            </a:pPr>
            <a:r>
              <a:rPr lang="en-US" sz="1400" dirty="0"/>
              <a:t>• </a:t>
            </a:r>
            <a:r>
              <a:rPr lang="en-US" sz="1400" b="1" i="0" u="none" strike="noStrike" cap="none" dirty="0">
                <a:solidFill>
                  <a:srgbClr val="0063C6"/>
                </a:solidFill>
                <a:ea typeface="Arial"/>
                <a:cs typeface="Arial"/>
                <a:sym typeface="Arial"/>
              </a:rPr>
              <a:t>Training data</a:t>
            </a:r>
            <a:endParaRPr sz="1400" b="1" dirty="0">
              <a:solidFill>
                <a:srgbClr val="0063C6"/>
              </a:solidFill>
            </a:endParaRPr>
          </a:p>
        </p:txBody>
      </p:sp>
      <p:sp>
        <p:nvSpPr>
          <p:cNvPr id="6" name="Google Shape;68;p7">
            <a:extLst>
              <a:ext uri="{FF2B5EF4-FFF2-40B4-BE49-F238E27FC236}">
                <a16:creationId xmlns:a16="http://schemas.microsoft.com/office/drawing/2014/main" id="{642EF726-E052-74D6-7E0D-4715BE6463B2}"/>
              </a:ext>
            </a:extLst>
          </p:cNvPr>
          <p:cNvSpPr txBox="1"/>
          <p:nvPr/>
        </p:nvSpPr>
        <p:spPr>
          <a:xfrm>
            <a:off x="7148603" y="3008159"/>
            <a:ext cx="3022919" cy="600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</a:t>
            </a:r>
            <a:r>
              <a:rPr lang="en-US" sz="1400" b="1" i="0" u="none" strike="noStrike" cap="none" dirty="0">
                <a:solidFill>
                  <a:srgbClr val="0063C6"/>
                </a:solidFill>
                <a:ea typeface="Arial"/>
                <a:cs typeface="Arial"/>
                <a:sym typeface="Arial"/>
              </a:rPr>
              <a:t>LM ownership</a:t>
            </a:r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Support process </a:t>
            </a:r>
            <a:r>
              <a:rPr lang="en-US" sz="1400" b="0" i="0" u="none" strike="noStrike" cap="none" dirty="0">
                <a:solidFill>
                  <a:srgbClr val="0063C6"/>
                </a:solidFill>
                <a:ea typeface="Arial"/>
                <a:cs typeface="Arial"/>
                <a:sym typeface="Arial"/>
              </a:rPr>
              <a:t>(minimal)</a:t>
            </a:r>
            <a:endParaRPr sz="1400" dirty="0">
              <a:solidFill>
                <a:srgbClr val="0063C6"/>
              </a:solidFill>
            </a:endParaRPr>
          </a:p>
        </p:txBody>
      </p:sp>
      <p:sp>
        <p:nvSpPr>
          <p:cNvPr id="7" name="Google Shape;69;p7">
            <a:extLst>
              <a:ext uri="{FF2B5EF4-FFF2-40B4-BE49-F238E27FC236}">
                <a16:creationId xmlns:a16="http://schemas.microsoft.com/office/drawing/2014/main" id="{16C14080-A168-F7BE-8413-E9151D4E78C8}"/>
              </a:ext>
            </a:extLst>
          </p:cNvPr>
          <p:cNvSpPr txBox="1"/>
          <p:nvPr/>
        </p:nvSpPr>
        <p:spPr>
          <a:xfrm>
            <a:off x="2386055" y="3008159"/>
            <a:ext cx="2310245" cy="1284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87313" marR="0" lvl="0" indent="-87313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Application roadmap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Business objectives / processes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BRS / CR process</a:t>
            </a:r>
          </a:p>
          <a:p>
            <a:pPr marL="87313" lvl="0" indent="-87313">
              <a:spcBef>
                <a:spcPts val="300"/>
              </a:spcBef>
            </a:pPr>
            <a:r>
              <a:rPr lang="en-US" sz="1400" dirty="0"/>
              <a:t>•	 Central / Joint governance</a:t>
            </a:r>
            <a:endParaRPr sz="1400" dirty="0"/>
          </a:p>
        </p:txBody>
      </p:sp>
      <p:cxnSp>
        <p:nvCxnSpPr>
          <p:cNvPr id="8" name="Google Shape;70;p7">
            <a:extLst>
              <a:ext uri="{FF2B5EF4-FFF2-40B4-BE49-F238E27FC236}">
                <a16:creationId xmlns:a16="http://schemas.microsoft.com/office/drawing/2014/main" id="{11FACFBF-9E2F-38E9-8585-61037C0954BD}"/>
              </a:ext>
            </a:extLst>
          </p:cNvPr>
          <p:cNvCxnSpPr>
            <a:cxnSpLocks/>
          </p:cNvCxnSpPr>
          <p:nvPr/>
        </p:nvCxnSpPr>
        <p:spPr>
          <a:xfrm flipH="1">
            <a:off x="8002575" y="2430771"/>
            <a:ext cx="1426285" cy="2510018"/>
          </a:xfrm>
          <a:prstGeom prst="bentConnector3">
            <a:avLst>
              <a:gd name="adj1" fmla="val -56405"/>
            </a:avLst>
          </a:prstGeom>
          <a:noFill/>
          <a:ln w="152400" cap="flat" cmpd="sng">
            <a:solidFill>
              <a:schemeClr val="bg2">
                <a:lumMod val="7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" name="Google Shape;73;p7">
            <a:extLst>
              <a:ext uri="{FF2B5EF4-FFF2-40B4-BE49-F238E27FC236}">
                <a16:creationId xmlns:a16="http://schemas.microsoft.com/office/drawing/2014/main" id="{CCF9B215-89C9-1580-D0D4-54977C86781C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2705699" y="2430770"/>
            <a:ext cx="1024910" cy="2510018"/>
          </a:xfrm>
          <a:prstGeom prst="bentConnector3">
            <a:avLst>
              <a:gd name="adj1" fmla="val -89811"/>
            </a:avLst>
          </a:prstGeom>
          <a:noFill/>
          <a:ln w="152400" cap="flat" cmpd="sng">
            <a:solidFill>
              <a:schemeClr val="bg2">
                <a:lumMod val="7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" name="Google Shape;75;p7">
            <a:extLst>
              <a:ext uri="{FF2B5EF4-FFF2-40B4-BE49-F238E27FC236}">
                <a16:creationId xmlns:a16="http://schemas.microsoft.com/office/drawing/2014/main" id="{9F3E3B3D-89C2-686A-01D7-0AE1D298C4F5}"/>
              </a:ext>
            </a:extLst>
          </p:cNvPr>
          <p:cNvSpPr/>
          <p:nvPr/>
        </p:nvSpPr>
        <p:spPr>
          <a:xfrm>
            <a:off x="4724504" y="1989138"/>
            <a:ext cx="2394851" cy="883266"/>
          </a:xfrm>
          <a:prstGeom prst="chevron">
            <a:avLst>
              <a:gd name="adj" fmla="val 37700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2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1" i="1" u="none" strike="noStrike" cap="none" dirty="0"/>
              <a:t>Build</a:t>
            </a:r>
            <a:endParaRPr sz="1050" b="1" i="1" u="none" strike="noStrike" cap="none" dirty="0"/>
          </a:p>
          <a:p>
            <a:pPr marL="0" marR="0" lvl="0" indent="0" algn="ctr" rtl="0">
              <a:spcAft>
                <a:spcPts val="0"/>
              </a:spcAft>
              <a:buNone/>
            </a:pPr>
            <a:r>
              <a:rPr lang="en-US" sz="1400" b="1" i="1" u="none" strike="noStrike" cap="none" dirty="0">
                <a:latin typeface="Arial"/>
                <a:ea typeface="Arial"/>
                <a:cs typeface="Arial"/>
                <a:sym typeface="Arial"/>
              </a:rPr>
              <a:t>Acquire, Implement</a:t>
            </a:r>
            <a:endParaRPr sz="1600" dirty="0"/>
          </a:p>
        </p:txBody>
      </p:sp>
      <p:sp>
        <p:nvSpPr>
          <p:cNvPr id="11" name="Google Shape;71;p7">
            <a:extLst>
              <a:ext uri="{FF2B5EF4-FFF2-40B4-BE49-F238E27FC236}">
                <a16:creationId xmlns:a16="http://schemas.microsoft.com/office/drawing/2014/main" id="{02C14EB6-8977-BFC5-AE04-C3EC86D06251}"/>
              </a:ext>
            </a:extLst>
          </p:cNvPr>
          <p:cNvSpPr/>
          <p:nvPr/>
        </p:nvSpPr>
        <p:spPr>
          <a:xfrm>
            <a:off x="7120401" y="1989138"/>
            <a:ext cx="2394851" cy="883266"/>
          </a:xfrm>
          <a:prstGeom prst="chevron">
            <a:avLst>
              <a:gd name="adj" fmla="val 37700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2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1" i="1" u="none" strike="noStrike" cap="none" dirty="0"/>
              <a:t>Run</a:t>
            </a:r>
            <a:endParaRPr sz="1050" b="1" i="1" u="none" strike="noStrike" cap="none" dirty="0"/>
          </a:p>
          <a:p>
            <a:pPr marL="0" marR="0" lvl="0" indent="0" algn="ctr" rtl="0">
              <a:spcAft>
                <a:spcPts val="0"/>
              </a:spcAft>
              <a:buNone/>
            </a:pPr>
            <a:r>
              <a:rPr lang="en-US" sz="1400" b="1" i="1" u="none" strike="noStrike" cap="none" dirty="0">
                <a:latin typeface="Arial"/>
                <a:ea typeface="Arial"/>
                <a:cs typeface="Arial"/>
                <a:sym typeface="Arial"/>
              </a:rPr>
              <a:t>Deliver, Support</a:t>
            </a:r>
            <a:endParaRPr sz="1600" dirty="0"/>
          </a:p>
        </p:txBody>
      </p:sp>
      <p:sp>
        <p:nvSpPr>
          <p:cNvPr id="12" name="Google Shape;74;p7">
            <a:extLst>
              <a:ext uri="{FF2B5EF4-FFF2-40B4-BE49-F238E27FC236}">
                <a16:creationId xmlns:a16="http://schemas.microsoft.com/office/drawing/2014/main" id="{4D00F714-01E6-0730-A2AA-6948D4495DA0}"/>
              </a:ext>
            </a:extLst>
          </p:cNvPr>
          <p:cNvSpPr/>
          <p:nvPr/>
        </p:nvSpPr>
        <p:spPr>
          <a:xfrm>
            <a:off x="2357855" y="1989138"/>
            <a:ext cx="2394851" cy="883266"/>
          </a:xfrm>
          <a:prstGeom prst="chevron">
            <a:avLst>
              <a:gd name="adj" fmla="val 37700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2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1" i="1" u="none" strike="noStrike" cap="none" dirty="0"/>
              <a:t>Design</a:t>
            </a:r>
            <a:endParaRPr sz="1400" b="1" i="1" u="none" strike="noStrike" cap="none" dirty="0"/>
          </a:p>
          <a:p>
            <a:pPr marL="0" marR="0" lvl="0" indent="0" algn="ctr" rtl="0">
              <a:spcAft>
                <a:spcPts val="0"/>
              </a:spcAft>
              <a:buNone/>
            </a:pPr>
            <a:r>
              <a:rPr lang="en-US" sz="1400" b="1" i="1" u="none" strike="noStrike" cap="none" dirty="0">
                <a:ea typeface="Arial"/>
                <a:cs typeface="Arial"/>
                <a:sym typeface="Arial"/>
              </a:rPr>
              <a:t>Plan, Organize</a:t>
            </a:r>
            <a:endParaRPr sz="1600" dirty="0"/>
          </a:p>
        </p:txBody>
      </p:sp>
      <p:sp>
        <p:nvSpPr>
          <p:cNvPr id="13" name="Google Shape;72;p7">
            <a:extLst>
              <a:ext uri="{FF2B5EF4-FFF2-40B4-BE49-F238E27FC236}">
                <a16:creationId xmlns:a16="http://schemas.microsoft.com/office/drawing/2014/main" id="{9F2F60B6-E6AD-5A8D-7EDC-1B9232393511}"/>
              </a:ext>
            </a:extLst>
          </p:cNvPr>
          <p:cNvSpPr/>
          <p:nvPr/>
        </p:nvSpPr>
        <p:spPr>
          <a:xfrm flipH="1">
            <a:off x="3555278" y="4689206"/>
            <a:ext cx="4733297" cy="503166"/>
          </a:xfrm>
          <a:prstGeom prst="chevron">
            <a:avLst>
              <a:gd name="adj" fmla="val 37700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2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1" u="none" strike="noStrike" cap="none" dirty="0"/>
              <a:t>Measure, Monitor &amp; Optimize</a:t>
            </a:r>
            <a:endParaRPr b="1" i="1" u="none" strike="noStrike" cap="none" dirty="0"/>
          </a:p>
        </p:txBody>
      </p:sp>
      <p:sp>
        <p:nvSpPr>
          <p:cNvPr id="14" name="Google Shape;76;p7">
            <a:extLst>
              <a:ext uri="{FF2B5EF4-FFF2-40B4-BE49-F238E27FC236}">
                <a16:creationId xmlns:a16="http://schemas.microsoft.com/office/drawing/2014/main" id="{856D79E7-0417-DFD6-3C19-B97402DEA687}"/>
              </a:ext>
            </a:extLst>
          </p:cNvPr>
          <p:cNvSpPr txBox="1"/>
          <p:nvPr/>
        </p:nvSpPr>
        <p:spPr>
          <a:xfrm>
            <a:off x="3555278" y="5228099"/>
            <a:ext cx="2620134" cy="1069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87313" marR="0" lvl="0" indent="-87313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Users’ feedback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Budget management</a:t>
            </a:r>
          </a:p>
          <a:p>
            <a:pPr marL="87313" lvl="0" indent="-87313">
              <a:spcBef>
                <a:spcPts val="300"/>
              </a:spcBef>
            </a:pPr>
            <a:r>
              <a:rPr lang="en-US" sz="1400" dirty="0">
                <a:ea typeface="Arial"/>
                <a:cs typeface="Arial"/>
                <a:sym typeface="Arial"/>
              </a:rPr>
              <a:t>•	 </a:t>
            </a:r>
            <a:r>
              <a:rPr lang="en-US" sz="1400" b="1" dirty="0">
                <a:solidFill>
                  <a:srgbClr val="0063C6"/>
                </a:solidFill>
                <a:ea typeface="Arial"/>
                <a:cs typeface="Arial"/>
                <a:sym typeface="Arial"/>
              </a:rPr>
              <a:t>Adjust Model parameters</a:t>
            </a:r>
          </a:p>
          <a:p>
            <a:pPr marL="87313" lvl="0" indent="-87313">
              <a:spcBef>
                <a:spcPts val="300"/>
              </a:spcBef>
            </a:pPr>
            <a:r>
              <a:rPr lang="en-US" sz="1400" dirty="0">
                <a:ea typeface="Arial"/>
                <a:cs typeface="Arial"/>
                <a:sym typeface="Arial"/>
              </a:rPr>
              <a:t>•	 </a:t>
            </a:r>
            <a:r>
              <a:rPr lang="en-US" sz="1400" b="1" dirty="0">
                <a:solidFill>
                  <a:srgbClr val="0063C6"/>
                </a:solidFill>
                <a:ea typeface="Arial"/>
                <a:cs typeface="Arial"/>
                <a:sym typeface="Arial"/>
              </a:rPr>
              <a:t>Loss function</a:t>
            </a:r>
            <a:endParaRPr sz="1400" b="1" dirty="0">
              <a:solidFill>
                <a:srgbClr val="0063C6"/>
              </a:solidFill>
            </a:endParaRPr>
          </a:p>
        </p:txBody>
      </p:sp>
      <p:sp>
        <p:nvSpPr>
          <p:cNvPr id="15" name="Google Shape;77;p7">
            <a:extLst>
              <a:ext uri="{FF2B5EF4-FFF2-40B4-BE49-F238E27FC236}">
                <a16:creationId xmlns:a16="http://schemas.microsoft.com/office/drawing/2014/main" id="{F6776336-2FBD-52DC-EF33-CBBFB667F159}"/>
              </a:ext>
            </a:extLst>
          </p:cNvPr>
          <p:cNvSpPr txBox="1"/>
          <p:nvPr/>
        </p:nvSpPr>
        <p:spPr>
          <a:xfrm>
            <a:off x="6175412" y="5228099"/>
            <a:ext cx="2638650" cy="815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87313" marR="0" lvl="0" indent="-87313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Stakeholder Map &amp; RSI matrix</a:t>
            </a:r>
            <a:endParaRPr sz="1400" dirty="0"/>
          </a:p>
          <a:p>
            <a:pPr marL="87313" marR="0" lvl="0" indent="-87313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ea typeface="Arial"/>
                <a:cs typeface="Arial"/>
                <a:sym typeface="Arial"/>
              </a:rPr>
              <a:t>•	 Risk management &amp; BCP</a:t>
            </a:r>
            <a:endParaRPr sz="1400" dirty="0"/>
          </a:p>
          <a:p>
            <a:pPr marL="87313" lvl="0" indent="-87313">
              <a:spcBef>
                <a:spcPts val="300"/>
              </a:spcBef>
            </a:pPr>
            <a:r>
              <a:rPr lang="en-US" sz="1400" dirty="0"/>
              <a:t>•	 Support tickets analysis</a:t>
            </a:r>
            <a:endParaRPr sz="1400" dirty="0"/>
          </a:p>
        </p:txBody>
      </p:sp>
    </p:spTree>
    <p:extLst>
      <p:ext uri="{BB962C8B-B14F-4D97-AF65-F5344CB8AC3E}">
        <p14:creationId xmlns:p14="http://schemas.microsoft.com/office/powerpoint/2010/main" val="448260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500"/>
                            </p:stCondLst>
                            <p:childTnLst>
                              <p:par>
                                <p:cTn id="3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7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7500"/>
                            </p:stCondLst>
                            <p:childTnLst>
                              <p:par>
                                <p:cTn id="4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8000"/>
                            </p:stCondLst>
                            <p:childTnLst>
                              <p:par>
                                <p:cTn id="4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10" grpId="0" animBg="1"/>
      <p:bldP spid="11" grpId="0" animBg="1"/>
      <p:bldP spid="12" grpId="0" animBg="1"/>
      <p:bldP spid="13" grpId="0" animBg="1"/>
      <p:bldP spid="14" grpId="0"/>
      <p:bldP spid="1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43B90-ADCF-AF38-F170-49D477F40D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aveat for AI adoption - Moderation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BD0E8C1-4062-17F0-C2FC-D60715421382}"/>
              </a:ext>
            </a:extLst>
          </p:cNvPr>
          <p:cNvSpPr txBox="1">
            <a:spLocks/>
          </p:cNvSpPr>
          <p:nvPr/>
        </p:nvSpPr>
        <p:spPr>
          <a:xfrm>
            <a:off x="371474" y="1989138"/>
            <a:ext cx="11485563" cy="404008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indent="-215900"/>
            <a:r>
              <a:rPr lang="en-GB" sz="2400" dirty="0">
                <a:latin typeface="+mn-lt"/>
              </a:rPr>
              <a:t>•	Global data centre industry to emit </a:t>
            </a:r>
            <a:r>
              <a:rPr lang="en-GB" sz="2400" b="1" dirty="0">
                <a:solidFill>
                  <a:srgbClr val="0063C6"/>
                </a:solidFill>
                <a:latin typeface="+mn-lt"/>
              </a:rPr>
              <a:t>2.5 billion tons of CO2</a:t>
            </a:r>
            <a:r>
              <a:rPr lang="en-GB" sz="2400" dirty="0">
                <a:latin typeface="+mn-lt"/>
              </a:rPr>
              <a:t> through 2030 </a:t>
            </a:r>
          </a:p>
          <a:p>
            <a:pPr marL="361950" indent="-215900">
              <a:lnSpc>
                <a:spcPct val="100000"/>
              </a:lnSpc>
              <a:spcBef>
                <a:spcPts val="0"/>
              </a:spcBef>
            </a:pPr>
            <a:r>
              <a:rPr lang="en-GB" sz="2400" dirty="0">
                <a:latin typeface="+mn-lt"/>
              </a:rPr>
              <a:t>	</a:t>
            </a:r>
            <a:r>
              <a:rPr lang="en-GB" sz="2000" dirty="0">
                <a:latin typeface="+mn-lt"/>
              </a:rPr>
              <a:t>- </a:t>
            </a:r>
            <a:r>
              <a:rPr lang="en-GB" sz="2000" i="1" dirty="0">
                <a:latin typeface="+mn-lt"/>
                <a:cs typeface="Times New Roman" panose="02020603050405020304" pitchFamily="18" charset="0"/>
              </a:rPr>
              <a:t>Morgan Stanley</a:t>
            </a:r>
            <a:r>
              <a:rPr lang="en-GB" sz="2000" i="1" dirty="0">
                <a:latin typeface="+mn-lt"/>
              </a:rPr>
              <a:t>, 2024</a:t>
            </a:r>
          </a:p>
          <a:p>
            <a:pPr marL="361950" indent="-215900"/>
            <a:r>
              <a:rPr lang="en-GB" sz="2400" dirty="0">
                <a:latin typeface="+mn-lt"/>
              </a:rPr>
              <a:t>•	Data centres already accounted for </a:t>
            </a:r>
            <a:r>
              <a:rPr lang="en-GB" sz="2400" b="1" dirty="0">
                <a:solidFill>
                  <a:srgbClr val="0063C6"/>
                </a:solidFill>
                <a:latin typeface="+mn-lt"/>
              </a:rPr>
              <a:t>1% to 1.5% of global electricity</a:t>
            </a:r>
            <a:r>
              <a:rPr lang="en-GB" sz="2400" dirty="0">
                <a:latin typeface="+mn-lt"/>
              </a:rPr>
              <a:t> consumption </a:t>
            </a:r>
          </a:p>
          <a:p>
            <a:pPr marL="361950" indent="-215900">
              <a:lnSpc>
                <a:spcPct val="100000"/>
              </a:lnSpc>
              <a:spcBef>
                <a:spcPts val="0"/>
              </a:spcBef>
            </a:pPr>
            <a:r>
              <a:rPr lang="en-GB" sz="2400" dirty="0">
                <a:latin typeface="+mn-lt"/>
              </a:rPr>
              <a:t>	</a:t>
            </a:r>
            <a:r>
              <a:rPr lang="en-GB" sz="2000" dirty="0">
                <a:latin typeface="+mn-lt"/>
              </a:rPr>
              <a:t>- </a:t>
            </a:r>
            <a:r>
              <a:rPr lang="en-GB" sz="2000" i="1" dirty="0">
                <a:latin typeface="+mn-lt"/>
                <a:cs typeface="Times New Roman" panose="02020603050405020304" pitchFamily="18" charset="0"/>
              </a:rPr>
              <a:t>International Energy Agency</a:t>
            </a:r>
            <a:r>
              <a:rPr lang="en-GB" sz="2000" i="1" dirty="0">
                <a:latin typeface="+mn-lt"/>
              </a:rPr>
              <a:t>, 2022</a:t>
            </a:r>
          </a:p>
          <a:p>
            <a:pPr marL="361950" indent="-215900"/>
            <a:r>
              <a:rPr lang="en-GB" sz="2400" dirty="0">
                <a:latin typeface="+mn-lt"/>
              </a:rPr>
              <a:t>•	By 2030, it is thought that </a:t>
            </a:r>
            <a:r>
              <a:rPr lang="en-GB" sz="2400" b="1" dirty="0">
                <a:solidFill>
                  <a:srgbClr val="0063C6"/>
                </a:solidFill>
                <a:latin typeface="+mn-lt"/>
              </a:rPr>
              <a:t>13% of the world’s electricity consumption</a:t>
            </a:r>
            <a:r>
              <a:rPr lang="en-GB" sz="2400" dirty="0">
                <a:latin typeface="+mn-lt"/>
              </a:rPr>
              <a:t> will be attributed to data centres</a:t>
            </a:r>
          </a:p>
          <a:p>
            <a:pPr marL="361950" indent="-215900"/>
            <a:r>
              <a:rPr lang="en-GB" sz="2400" dirty="0">
                <a:latin typeface="+mn-lt"/>
              </a:rPr>
              <a:t>•	Real emissions</a:t>
            </a:r>
            <a:r>
              <a:rPr lang="en-US" sz="2400" dirty="0">
                <a:latin typeface="+mn-lt"/>
              </a:rPr>
              <a:t> are probably </a:t>
            </a:r>
            <a:r>
              <a:rPr lang="en-US" sz="2400" b="1" dirty="0">
                <a:solidFill>
                  <a:srgbClr val="0063C6"/>
                </a:solidFill>
                <a:latin typeface="+mn-lt"/>
              </a:rPr>
              <a:t>7.62 times higher than officially reported</a:t>
            </a:r>
            <a:r>
              <a:rPr lang="en-US" sz="2400" dirty="0">
                <a:latin typeface="+mn-lt"/>
              </a:rPr>
              <a:t> (by tech firms)</a:t>
            </a:r>
          </a:p>
          <a:p>
            <a:pPr marL="361950" indent="-215900"/>
            <a:r>
              <a:rPr lang="en-US" sz="2400" dirty="0">
                <a:latin typeface="+mn-lt"/>
              </a:rPr>
              <a:t>•	The average web page produces approximately </a:t>
            </a:r>
            <a:r>
              <a:rPr lang="en-US" sz="2400" b="1" dirty="0">
                <a:solidFill>
                  <a:srgbClr val="0063C6"/>
                </a:solidFill>
                <a:latin typeface="+mn-lt"/>
              </a:rPr>
              <a:t>0.36g CO2 per pageview</a:t>
            </a:r>
          </a:p>
          <a:p>
            <a:pPr marL="361950" indent="-215900"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+mn-lt"/>
              </a:rPr>
              <a:t>	- </a:t>
            </a:r>
            <a:r>
              <a:rPr lang="en-US" sz="2000" dirty="0">
                <a:latin typeface="+mn-lt"/>
                <a:cs typeface="Times New Roman" panose="02020603050405020304" pitchFamily="18" charset="0"/>
              </a:rPr>
              <a:t>https://www.websitecarbon.com/</a:t>
            </a:r>
          </a:p>
        </p:txBody>
      </p:sp>
    </p:spTree>
    <p:extLst>
      <p:ext uri="{BB962C8B-B14F-4D97-AF65-F5344CB8AC3E}">
        <p14:creationId xmlns:p14="http://schemas.microsoft.com/office/powerpoint/2010/main" val="42859034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BD8B5C-09BE-094D-9738-5D7DD72A30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 person in a suit and tie&#10;&#10;AI-generated content may be incorrect.">
            <a:extLst>
              <a:ext uri="{FF2B5EF4-FFF2-40B4-BE49-F238E27FC236}">
                <a16:creationId xmlns:a16="http://schemas.microsoft.com/office/drawing/2014/main" id="{9EEDAFCE-FFAF-4875-0C96-94F320877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129" y="2373045"/>
            <a:ext cx="1703310" cy="1703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oogle Shape;143;p21">
            <a:extLst>
              <a:ext uri="{FF2B5EF4-FFF2-40B4-BE49-F238E27FC236}">
                <a16:creationId xmlns:a16="http://schemas.microsoft.com/office/drawing/2014/main" id="{DA9651E4-8525-8DC6-26C9-B5C92E120273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986784" y="2255555"/>
            <a:ext cx="1980000" cy="198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2A49E2-D7B0-4AB3-3231-A658DBB0D59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YOUR SPEAKERS</a:t>
            </a:r>
          </a:p>
        </p:txBody>
      </p:sp>
      <p:sp>
        <p:nvSpPr>
          <p:cNvPr id="7" name="Google Shape;142;p21">
            <a:extLst>
              <a:ext uri="{FF2B5EF4-FFF2-40B4-BE49-F238E27FC236}">
                <a16:creationId xmlns:a16="http://schemas.microsoft.com/office/drawing/2014/main" id="{5B913FDC-E910-4E9A-E358-48FDA52A5F00}"/>
              </a:ext>
            </a:extLst>
          </p:cNvPr>
          <p:cNvSpPr txBox="1"/>
          <p:nvPr/>
        </p:nvSpPr>
        <p:spPr>
          <a:xfrm>
            <a:off x="8005670" y="4376956"/>
            <a:ext cx="1961114" cy="8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noProof="0" dirty="0">
                <a:latin typeface="Calibri"/>
                <a:ea typeface="Calibri"/>
                <a:cs typeface="Calibri"/>
                <a:sym typeface="Calibri"/>
              </a:rPr>
              <a:t>CK Lin</a:t>
            </a:r>
            <a:endParaRPr lang="en-US" b="1" noProof="0" dirty="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0" dirty="0">
                <a:latin typeface="Calibri"/>
                <a:ea typeface="Calibri"/>
                <a:cs typeface="Calibri"/>
                <a:sym typeface="Calibri"/>
              </a:rPr>
              <a:t>Principal Consultant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0" dirty="0" err="1">
                <a:latin typeface="Calibri"/>
                <a:ea typeface="Calibri"/>
                <a:cs typeface="Calibri"/>
                <a:sym typeface="Calibri"/>
              </a:rPr>
              <a:t>eZ</a:t>
            </a:r>
            <a:r>
              <a:rPr lang="en-US" noProof="0" dirty="0">
                <a:latin typeface="Calibri"/>
                <a:ea typeface="Calibri"/>
                <a:cs typeface="Calibri"/>
                <a:sym typeface="Calibri"/>
              </a:rPr>
              <a:t> Solutions </a:t>
            </a:r>
          </a:p>
        </p:txBody>
      </p:sp>
      <p:pic>
        <p:nvPicPr>
          <p:cNvPr id="11" name="Picture 10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9C852803-FFC7-2DC3-5ACB-DADFF743BE0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5965786" y="5429796"/>
            <a:ext cx="180000" cy="177557"/>
          </a:xfrm>
          <a:prstGeom prst="rect">
            <a:avLst/>
          </a:prstGeom>
        </p:spPr>
      </p:pic>
      <p:pic>
        <p:nvPicPr>
          <p:cNvPr id="12" name="Picture 1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0A3F69F3-4658-D2D3-3DEF-B5CE22253E7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8896227" y="5429796"/>
            <a:ext cx="180000" cy="177557"/>
          </a:xfrm>
          <a:prstGeom prst="rect">
            <a:avLst/>
          </a:prstGeom>
        </p:spPr>
      </p:pic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26302376-2BE6-B1AA-C56D-2DF0E5E4CF7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3124427" y="5459103"/>
            <a:ext cx="180000" cy="177557"/>
          </a:xfrm>
          <a:prstGeom prst="rect">
            <a:avLst/>
          </a:prstGeom>
        </p:spPr>
      </p:pic>
      <p:sp>
        <p:nvSpPr>
          <p:cNvPr id="23" name="Google Shape;140;p21">
            <a:extLst>
              <a:ext uri="{FF2B5EF4-FFF2-40B4-BE49-F238E27FC236}">
                <a16:creationId xmlns:a16="http://schemas.microsoft.com/office/drawing/2014/main" id="{619AC6E4-5BE1-A416-E7B3-FD8F23E9F0B4}"/>
              </a:ext>
            </a:extLst>
          </p:cNvPr>
          <p:cNvSpPr txBox="1"/>
          <p:nvPr/>
        </p:nvSpPr>
        <p:spPr>
          <a:xfrm>
            <a:off x="1927375" y="4376955"/>
            <a:ext cx="2574104" cy="8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en-US" b="1" noProof="0" dirty="0">
                <a:latin typeface="Calibri"/>
                <a:ea typeface="Calibri"/>
                <a:cs typeface="Calibri"/>
              </a:rPr>
              <a:t>Mat Langley </a:t>
            </a:r>
          </a:p>
          <a:p>
            <a:pPr algn="ctr"/>
            <a:r>
              <a:rPr lang="en-US" noProof="0" dirty="0">
                <a:latin typeface="Calibri"/>
                <a:ea typeface="Calibri"/>
                <a:cs typeface="Calibri"/>
              </a:rPr>
              <a:t>SPP Emerging Technology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0" dirty="0">
                <a:latin typeface="Calibri"/>
                <a:ea typeface="Calibri"/>
                <a:cs typeface="Calibri"/>
              </a:rPr>
              <a:t>Chapter Co-Chair</a:t>
            </a:r>
          </a:p>
        </p:txBody>
      </p:sp>
      <p:sp>
        <p:nvSpPr>
          <p:cNvPr id="24" name="Google Shape;140;p21">
            <a:extLst>
              <a:ext uri="{FF2B5EF4-FFF2-40B4-BE49-F238E27FC236}">
                <a16:creationId xmlns:a16="http://schemas.microsoft.com/office/drawing/2014/main" id="{786F74B9-9E24-81CD-CF5F-21A6F52BD962}"/>
              </a:ext>
            </a:extLst>
          </p:cNvPr>
          <p:cNvSpPr txBox="1"/>
          <p:nvPr/>
        </p:nvSpPr>
        <p:spPr>
          <a:xfrm>
            <a:off x="4734354" y="4376955"/>
            <a:ext cx="2723291" cy="8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en-US" b="1" noProof="0" dirty="0">
                <a:latin typeface="Calibri"/>
                <a:ea typeface="Calibri"/>
                <a:cs typeface="Calibri"/>
              </a:rPr>
              <a:t>Vinitha Matthew </a:t>
            </a:r>
          </a:p>
          <a:p>
            <a:pPr algn="ctr"/>
            <a:r>
              <a:rPr lang="en-US" noProof="0" dirty="0">
                <a:latin typeface="Calibri"/>
                <a:ea typeface="Calibri"/>
                <a:cs typeface="Calibri"/>
              </a:rPr>
              <a:t>Responsible Sourcing Lead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0" dirty="0" err="1">
                <a:latin typeface="Calibri"/>
                <a:ea typeface="Calibri"/>
                <a:cs typeface="Calibri"/>
              </a:rPr>
              <a:t>Novonesis</a:t>
            </a:r>
            <a:endParaRPr lang="en-US" noProof="0" dirty="0">
              <a:latin typeface="Calibri"/>
              <a:ea typeface="Calibri"/>
              <a:cs typeface="Calibri"/>
            </a:endParaRPr>
          </a:p>
        </p:txBody>
      </p:sp>
      <p:pic>
        <p:nvPicPr>
          <p:cNvPr id="1028" name="Picture 4" descr="A person smiling at camera&#10;&#10;AI-generated content may be incorrect.">
            <a:extLst>
              <a:ext uri="{FF2B5EF4-FFF2-40B4-BE49-F238E27FC236}">
                <a16:creationId xmlns:a16="http://schemas.microsoft.com/office/drawing/2014/main" id="{F13F2223-B7B2-1082-B39F-FFCD5BF307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6375" y="2619375"/>
            <a:ext cx="1619250" cy="1619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oogle Shape;143;p21">
            <a:extLst>
              <a:ext uri="{FF2B5EF4-FFF2-40B4-BE49-F238E27FC236}">
                <a16:creationId xmlns:a16="http://schemas.microsoft.com/office/drawing/2014/main" id="{09F983EA-7658-BC08-3E1E-19122786099A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106000" y="2263142"/>
            <a:ext cx="1980000" cy="198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0" name="Picture 6" descr="A person smiling at camera&#10;&#10;AI-generated content may be incorrect.">
            <a:extLst>
              <a:ext uri="{FF2B5EF4-FFF2-40B4-BE49-F238E27FC236}">
                <a16:creationId xmlns:a16="http://schemas.microsoft.com/office/drawing/2014/main" id="{956F6962-7B38-A7E8-C52E-20E5D3BB61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802" y="2616305"/>
            <a:ext cx="1619250" cy="1619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oogle Shape;135;p21" descr="A blue circle with black background&#10;&#10;AI-generated content may be incorrect.">
            <a:extLst>
              <a:ext uri="{FF2B5EF4-FFF2-40B4-BE49-F238E27FC236}">
                <a16:creationId xmlns:a16="http://schemas.microsoft.com/office/drawing/2014/main" id="{09F4F09A-9652-7DA6-BE5C-66670E8283AE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24427" y="2318141"/>
            <a:ext cx="1980000" cy="198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15743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" name="Silhouette of Man Walking Out Door.mp4" descr="Silhouette of Man Walking Out Door.mp4"/>
          <p:cNvPicPr>
            <a:picLocks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0731"/>
            <a:ext cx="12192000" cy="6868732"/>
          </a:xfrm>
          <a:prstGeom prst="rect">
            <a:avLst/>
          </a:prstGeom>
          <a:ln w="12700">
            <a:miter lim="400000"/>
          </a:ln>
        </p:spPr>
      </p:pic>
      <p:sp>
        <p:nvSpPr>
          <p:cNvPr id="431" name="Rectangle"/>
          <p:cNvSpPr/>
          <p:nvPr/>
        </p:nvSpPr>
        <p:spPr>
          <a:xfrm>
            <a:off x="0" y="-10732"/>
            <a:ext cx="12192000" cy="6899664"/>
          </a:xfrm>
          <a:prstGeom prst="rect">
            <a:avLst/>
          </a:prstGeom>
          <a:solidFill>
            <a:srgbClr val="000000">
              <a:alpha val="43445"/>
            </a:srgbClr>
          </a:solidFill>
          <a:ln w="12700">
            <a:miter lim="400000"/>
          </a:ln>
        </p:spPr>
        <p:txBody>
          <a:bodyPr lIns="12700" tIns="12700" rIns="12700" bIns="12700" anchor="ctr"/>
          <a:lstStyle/>
          <a:p>
            <a:pPr algn="ctr" defTabSz="206370">
              <a:defRPr sz="16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800"/>
          </a:p>
        </p:txBody>
      </p:sp>
      <p:sp>
        <p:nvSpPr>
          <p:cNvPr id="433" name="ZoneTexte 25"/>
          <p:cNvSpPr txBox="1"/>
          <p:nvPr/>
        </p:nvSpPr>
        <p:spPr>
          <a:xfrm>
            <a:off x="7082593" y="5063086"/>
            <a:ext cx="3244737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60" rIns="22860" anchor="ctr">
            <a:spAutoFit/>
          </a:bodyPr>
          <a:lstStyle>
            <a:lvl1pPr algn="ctr" defTabSz="825500">
              <a:lnSpc>
                <a:spcPct val="100000"/>
              </a:lnSpc>
              <a:spcBef>
                <a:spcPts val="2000"/>
              </a:spcBef>
              <a:defRPr sz="60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sz="3000"/>
              <a:t>#ProcureTomorrow</a:t>
            </a:r>
          </a:p>
        </p:txBody>
      </p:sp>
      <p:sp>
        <p:nvSpPr>
          <p:cNvPr id="434" name="Sign the pledge!  Activate your power"/>
          <p:cNvSpPr txBox="1"/>
          <p:nvPr/>
        </p:nvSpPr>
        <p:spPr>
          <a:xfrm>
            <a:off x="314460" y="2463521"/>
            <a:ext cx="6701057" cy="1575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spAutoFit/>
          </a:bodyPr>
          <a:lstStyle/>
          <a:p>
            <a:pPr algn="ctr">
              <a:defRPr sz="99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4951" dirty="0"/>
              <a:t>Sign the pledge! </a:t>
            </a:r>
            <a:br>
              <a:rPr sz="4951" dirty="0"/>
            </a:br>
            <a:r>
              <a:rPr sz="4951" i="1" dirty="0">
                <a:latin typeface="Helvetica"/>
                <a:ea typeface="Helvetica"/>
                <a:cs typeface="Helvetica"/>
                <a:sym typeface="Helvetica"/>
              </a:rPr>
              <a:t>Activate your power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7E2C926-C512-A630-9FA9-9B7DBF9C68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58" t="63772" r="28020" b="5469"/>
          <a:stretch/>
        </p:blipFill>
        <p:spPr bwMode="auto">
          <a:xfrm>
            <a:off x="7651571" y="2881231"/>
            <a:ext cx="2106780" cy="2062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A logo with white text&#10;&#10;Description automatically generated">
            <a:extLst>
              <a:ext uri="{FF2B5EF4-FFF2-40B4-BE49-F238E27FC236}">
                <a16:creationId xmlns:a16="http://schemas.microsoft.com/office/drawing/2014/main" id="{75BA85AA-F50E-28D4-8986-278AD50F0E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480" y="179592"/>
            <a:ext cx="1920921" cy="813809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114" fill="hold"/>
                                        <p:tgtEl>
                                          <p:spTgt spid="43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430"/>
                </p:tgtEl>
              </p:cMediaNode>
            </p:video>
            <p:seq concurrent="1" prevAc="none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3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3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30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07923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BD8B5C-09BE-094D-9738-5D7DD72A30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 person in a suit and tie&#10;&#10;AI-generated content may be incorrect.">
            <a:extLst>
              <a:ext uri="{FF2B5EF4-FFF2-40B4-BE49-F238E27FC236}">
                <a16:creationId xmlns:a16="http://schemas.microsoft.com/office/drawing/2014/main" id="{9EEDAFCE-FFAF-4875-0C96-94F320877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129" y="2373045"/>
            <a:ext cx="1703310" cy="1703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oogle Shape;143;p21">
            <a:extLst>
              <a:ext uri="{FF2B5EF4-FFF2-40B4-BE49-F238E27FC236}">
                <a16:creationId xmlns:a16="http://schemas.microsoft.com/office/drawing/2014/main" id="{DA9651E4-8525-8DC6-26C9-B5C92E120273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986784" y="2255555"/>
            <a:ext cx="1980000" cy="198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2A49E2-D7B0-4AB3-3231-A658DBB0D59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YOUR SPEAKERS</a:t>
            </a:r>
          </a:p>
        </p:txBody>
      </p:sp>
      <p:sp>
        <p:nvSpPr>
          <p:cNvPr id="7" name="Google Shape;142;p21">
            <a:extLst>
              <a:ext uri="{FF2B5EF4-FFF2-40B4-BE49-F238E27FC236}">
                <a16:creationId xmlns:a16="http://schemas.microsoft.com/office/drawing/2014/main" id="{5B913FDC-E910-4E9A-E358-48FDA52A5F00}"/>
              </a:ext>
            </a:extLst>
          </p:cNvPr>
          <p:cNvSpPr txBox="1"/>
          <p:nvPr/>
        </p:nvSpPr>
        <p:spPr>
          <a:xfrm>
            <a:off x="8005670" y="4376956"/>
            <a:ext cx="1961114" cy="8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noProof="0" dirty="0">
                <a:latin typeface="Calibri"/>
                <a:ea typeface="Calibri"/>
                <a:cs typeface="Calibri"/>
                <a:sym typeface="Calibri"/>
              </a:rPr>
              <a:t>CK Lin</a:t>
            </a:r>
            <a:endParaRPr lang="en-US" b="1" noProof="0" dirty="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0" dirty="0">
                <a:latin typeface="Calibri"/>
                <a:ea typeface="Calibri"/>
                <a:cs typeface="Calibri"/>
                <a:sym typeface="Calibri"/>
              </a:rPr>
              <a:t>Principal Consultant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0" dirty="0" err="1">
                <a:latin typeface="Calibri"/>
                <a:ea typeface="Calibri"/>
                <a:cs typeface="Calibri"/>
                <a:sym typeface="Calibri"/>
              </a:rPr>
              <a:t>eZ</a:t>
            </a:r>
            <a:r>
              <a:rPr lang="en-US" noProof="0" dirty="0">
                <a:latin typeface="Calibri"/>
                <a:ea typeface="Calibri"/>
                <a:cs typeface="Calibri"/>
                <a:sym typeface="Calibri"/>
              </a:rPr>
              <a:t> Solutions </a:t>
            </a:r>
          </a:p>
        </p:txBody>
      </p:sp>
      <p:pic>
        <p:nvPicPr>
          <p:cNvPr id="11" name="Picture 10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9C852803-FFC7-2DC3-5ACB-DADFF743BE0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5965786" y="5429796"/>
            <a:ext cx="180000" cy="177557"/>
          </a:xfrm>
          <a:prstGeom prst="rect">
            <a:avLst/>
          </a:prstGeom>
        </p:spPr>
      </p:pic>
      <p:pic>
        <p:nvPicPr>
          <p:cNvPr id="12" name="Picture 1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0A3F69F3-4658-D2D3-3DEF-B5CE22253E7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8896227" y="5429796"/>
            <a:ext cx="180000" cy="177557"/>
          </a:xfrm>
          <a:prstGeom prst="rect">
            <a:avLst/>
          </a:prstGeom>
        </p:spPr>
      </p:pic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26302376-2BE6-B1AA-C56D-2DF0E5E4CF7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3124427" y="5459103"/>
            <a:ext cx="180000" cy="177557"/>
          </a:xfrm>
          <a:prstGeom prst="rect">
            <a:avLst/>
          </a:prstGeom>
        </p:spPr>
      </p:pic>
      <p:sp>
        <p:nvSpPr>
          <p:cNvPr id="23" name="Google Shape;140;p21">
            <a:extLst>
              <a:ext uri="{FF2B5EF4-FFF2-40B4-BE49-F238E27FC236}">
                <a16:creationId xmlns:a16="http://schemas.microsoft.com/office/drawing/2014/main" id="{619AC6E4-5BE1-A416-E7B3-FD8F23E9F0B4}"/>
              </a:ext>
            </a:extLst>
          </p:cNvPr>
          <p:cNvSpPr txBox="1"/>
          <p:nvPr/>
        </p:nvSpPr>
        <p:spPr>
          <a:xfrm>
            <a:off x="1927375" y="4376955"/>
            <a:ext cx="2574104" cy="8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en-US" b="1" noProof="0" dirty="0">
                <a:latin typeface="Calibri"/>
                <a:ea typeface="Calibri"/>
                <a:cs typeface="Calibri"/>
              </a:rPr>
              <a:t>Mat Langley </a:t>
            </a:r>
          </a:p>
          <a:p>
            <a:pPr algn="ctr"/>
            <a:r>
              <a:rPr lang="en-US" noProof="0" dirty="0">
                <a:latin typeface="Calibri"/>
                <a:ea typeface="Calibri"/>
                <a:cs typeface="Calibri"/>
              </a:rPr>
              <a:t>SPP Emerging Technology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0" dirty="0">
                <a:latin typeface="Calibri"/>
                <a:ea typeface="Calibri"/>
                <a:cs typeface="Calibri"/>
              </a:rPr>
              <a:t>Chapter Co-Chair</a:t>
            </a:r>
          </a:p>
        </p:txBody>
      </p:sp>
      <p:sp>
        <p:nvSpPr>
          <p:cNvPr id="24" name="Google Shape;140;p21">
            <a:extLst>
              <a:ext uri="{FF2B5EF4-FFF2-40B4-BE49-F238E27FC236}">
                <a16:creationId xmlns:a16="http://schemas.microsoft.com/office/drawing/2014/main" id="{786F74B9-9E24-81CD-CF5F-21A6F52BD962}"/>
              </a:ext>
            </a:extLst>
          </p:cNvPr>
          <p:cNvSpPr txBox="1"/>
          <p:nvPr/>
        </p:nvSpPr>
        <p:spPr>
          <a:xfrm>
            <a:off x="4734354" y="4376955"/>
            <a:ext cx="2723291" cy="8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en-US" b="1" noProof="0" dirty="0">
                <a:latin typeface="Calibri"/>
                <a:ea typeface="Calibri"/>
                <a:cs typeface="Calibri"/>
              </a:rPr>
              <a:t>Vinitha Matthew </a:t>
            </a:r>
          </a:p>
          <a:p>
            <a:pPr algn="ctr"/>
            <a:r>
              <a:rPr lang="en-US" noProof="0" dirty="0">
                <a:latin typeface="Calibri"/>
                <a:ea typeface="Calibri"/>
                <a:cs typeface="Calibri"/>
              </a:rPr>
              <a:t>Responsible Sourcing Lead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0" dirty="0" err="1">
                <a:latin typeface="Calibri"/>
                <a:ea typeface="Calibri"/>
                <a:cs typeface="Calibri"/>
              </a:rPr>
              <a:t>Novonesis</a:t>
            </a:r>
            <a:endParaRPr lang="en-US" noProof="0" dirty="0">
              <a:latin typeface="Calibri"/>
              <a:ea typeface="Calibri"/>
              <a:cs typeface="Calibri"/>
            </a:endParaRPr>
          </a:p>
        </p:txBody>
      </p:sp>
      <p:pic>
        <p:nvPicPr>
          <p:cNvPr id="1028" name="Picture 4" descr="A person smiling at camera&#10;&#10;AI-generated content may be incorrect.">
            <a:extLst>
              <a:ext uri="{FF2B5EF4-FFF2-40B4-BE49-F238E27FC236}">
                <a16:creationId xmlns:a16="http://schemas.microsoft.com/office/drawing/2014/main" id="{F13F2223-B7B2-1082-B39F-FFCD5BF307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6375" y="2619375"/>
            <a:ext cx="1619250" cy="1619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oogle Shape;143;p21">
            <a:extLst>
              <a:ext uri="{FF2B5EF4-FFF2-40B4-BE49-F238E27FC236}">
                <a16:creationId xmlns:a16="http://schemas.microsoft.com/office/drawing/2014/main" id="{09F983EA-7658-BC08-3E1E-19122786099A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106000" y="2263142"/>
            <a:ext cx="1980000" cy="198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0" name="Picture 6" descr="A person smiling at camera&#10;&#10;AI-generated content may be incorrect.">
            <a:extLst>
              <a:ext uri="{FF2B5EF4-FFF2-40B4-BE49-F238E27FC236}">
                <a16:creationId xmlns:a16="http://schemas.microsoft.com/office/drawing/2014/main" id="{956F6962-7B38-A7E8-C52E-20E5D3BB61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802" y="2616305"/>
            <a:ext cx="1619250" cy="1619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oogle Shape;135;p21" descr="A blue circle with black background&#10;&#10;AI-generated content may be incorrect.">
            <a:extLst>
              <a:ext uri="{FF2B5EF4-FFF2-40B4-BE49-F238E27FC236}">
                <a16:creationId xmlns:a16="http://schemas.microsoft.com/office/drawing/2014/main" id="{09F4F09A-9652-7DA6-BE5C-66670E8283AE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24427" y="2318141"/>
            <a:ext cx="1980000" cy="198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011632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8F7F7-839D-B222-5042-99D6567E25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850" y="940501"/>
            <a:ext cx="11548099" cy="659700"/>
          </a:xfrm>
        </p:spPr>
        <p:txBody>
          <a:bodyPr anchor="t">
            <a:normAutofit/>
          </a:bodyPr>
          <a:lstStyle/>
          <a:p>
            <a:r>
              <a:rPr lang="en-IE"/>
              <a:t>Agenda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46A8B0FA-C6B5-FF5E-BED6-ACCDF0D2135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13330238"/>
              </p:ext>
              <p:ext uri="{E7BDC344-281C-4309-B0C6-D0EE65EED2A8}">
                <p202:designPr xmlns:p202="http://schemas.microsoft.com/office/powerpoint/2020/02/main">
                  <p202:designTagLst>
                    <p202:designTag name="ARCH:1:CLS" val="StackedSequentialRowTable"/>
                  </p202:designTagLst>
                </p202:designPr>
              </p:ext>
            </p:extLst>
          </p:nvPr>
        </p:nvGraphicFramePr>
        <p:xfrm>
          <a:off x="787418" y="1971227"/>
          <a:ext cx="10617163" cy="3669980"/>
        </p:xfrm>
        <a:graphic>
          <a:graphicData uri="http://schemas.openxmlformats.org/drawingml/2006/table">
            <a:tbl>
              <a:tblPr bandRow="1">
                <a:noFill/>
                <a:tableStyleId>{5C22544A-7EE6-4342-B048-85BDC9FD1C3A}</a:tableStyleId>
              </a:tblPr>
              <a:tblGrid>
                <a:gridCol w="2235425">
                  <a:extLst>
                    <a:ext uri="{9D8B030D-6E8A-4147-A177-3AD203B41FA5}">
                      <a16:colId xmlns:a16="http://schemas.microsoft.com/office/drawing/2014/main" val="498327805"/>
                    </a:ext>
                  </a:extLst>
                </a:gridCol>
                <a:gridCol w="8381738">
                  <a:extLst>
                    <a:ext uri="{9D8B030D-6E8A-4147-A177-3AD203B41FA5}">
                      <a16:colId xmlns:a16="http://schemas.microsoft.com/office/drawing/2014/main" val="245420179"/>
                    </a:ext>
                  </a:extLst>
                </a:gridCol>
              </a:tblGrid>
              <a:tr h="68829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E" sz="2800" b="1" cap="none" spc="0" dirty="0">
                          <a:solidFill>
                            <a:schemeClr val="accent1"/>
                          </a:solidFill>
                        </a:rPr>
                        <a:t>01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GB" sz="1800" dirty="0"/>
                        <a:t>Emerging technology of backbones and orchestration layers and how emission data will be leveraged</a:t>
                      </a:r>
                      <a:endParaRPr lang="en-GB" sz="18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7344892"/>
                  </a:ext>
                </a:extLst>
              </a:tr>
              <a:tr h="68829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E" sz="2800" b="1" cap="none" spc="0" dirty="0">
                          <a:solidFill>
                            <a:schemeClr val="accent1"/>
                          </a:solidFill>
                        </a:rPr>
                        <a:t>02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GB" sz="1800" b="1" dirty="0"/>
                        <a:t>AI solutions </a:t>
                      </a:r>
                      <a:r>
                        <a:rPr lang="en-GB" sz="1800" dirty="0"/>
                        <a:t>as the new enabler for Procurement Sustainability </a:t>
                      </a:r>
                      <a:endParaRPr lang="en-GB" sz="18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218686"/>
                  </a:ext>
                </a:extLst>
              </a:tr>
              <a:tr h="68829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E" sz="2800" b="1" cap="none" spc="0">
                          <a:solidFill>
                            <a:schemeClr val="accent1"/>
                          </a:solidFill>
                        </a:rPr>
                        <a:t>03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Program Governance Framework </a:t>
                      </a:r>
                      <a:r>
                        <a:rPr lang="en-GB" sz="1800" dirty="0"/>
                        <a:t>and the required adaption for AI solutions </a:t>
                      </a:r>
                      <a:endParaRPr lang="en-IE" sz="18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960426"/>
                  </a:ext>
                </a:extLst>
              </a:tr>
              <a:tr h="68829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E" sz="2800" b="1" cap="none" spc="0" dirty="0">
                          <a:solidFill>
                            <a:schemeClr val="accent1"/>
                          </a:solidFill>
                        </a:rPr>
                        <a:t>04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E" sz="18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Q&amp;A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317828"/>
                  </a:ext>
                </a:extLst>
              </a:tr>
              <a:tr h="68829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E" sz="2800" b="1" cap="none" spc="0" dirty="0">
                          <a:solidFill>
                            <a:schemeClr val="accent1"/>
                          </a:solidFill>
                        </a:rPr>
                        <a:t>05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E" sz="18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Key Takeaways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86977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88439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1"/>
          <p:cNvSpPr/>
          <p:nvPr/>
        </p:nvSpPr>
        <p:spPr>
          <a:xfrm>
            <a:off x="502920" y="420624"/>
            <a:ext cx="932688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550" b="1" dirty="0">
                <a:solidFill>
                  <a:srgbClr val="1F293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01. The procurement team of the future</a:t>
            </a:r>
            <a:endParaRPr lang="en-US" sz="2550" dirty="0"/>
          </a:p>
        </p:txBody>
      </p:sp>
      <p:sp>
        <p:nvSpPr>
          <p:cNvPr id="6" name="Text 2"/>
          <p:cNvSpPr/>
          <p:nvPr/>
        </p:nvSpPr>
        <p:spPr>
          <a:xfrm>
            <a:off x="502920" y="850392"/>
            <a:ext cx="1060704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50" dirty="0">
                <a:solidFill>
                  <a:srgbClr val="5B6675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Humans orchestrate the strategy. AI performs the workload.</a:t>
            </a:r>
            <a:endParaRPr lang="en-US" sz="1450" dirty="0"/>
          </a:p>
        </p:txBody>
      </p:sp>
      <p:sp>
        <p:nvSpPr>
          <p:cNvPr id="7" name="Shape 3"/>
          <p:cNvSpPr/>
          <p:nvPr/>
        </p:nvSpPr>
        <p:spPr>
          <a:xfrm>
            <a:off x="502920" y="1316736"/>
            <a:ext cx="11247120" cy="4663440"/>
          </a:xfrm>
          <a:prstGeom prst="roundRect">
            <a:avLst>
              <a:gd name="adj" fmla="val 1569"/>
            </a:avLst>
          </a:prstGeom>
          <a:solidFill>
            <a:srgbClr val="F7FAFC"/>
          </a:solidFill>
          <a:ln w="12700">
            <a:solidFill>
              <a:srgbClr val="F7FAFC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8" name="Shape 4"/>
          <p:cNvSpPr/>
          <p:nvPr/>
        </p:nvSpPr>
        <p:spPr>
          <a:xfrm>
            <a:off x="2926080" y="1481328"/>
            <a:ext cx="6217920" cy="4343400"/>
          </a:xfrm>
          <a:prstGeom prst="ellipse">
            <a:avLst/>
          </a:prstGeom>
          <a:solidFill>
            <a:srgbClr val="2F80C3">
              <a:alpha val="11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9" name="Shape 5"/>
          <p:cNvSpPr/>
          <p:nvPr/>
        </p:nvSpPr>
        <p:spPr>
          <a:xfrm>
            <a:off x="3840480" y="2011680"/>
            <a:ext cx="4389120" cy="3246120"/>
          </a:xfrm>
          <a:prstGeom prst="ellipse">
            <a:avLst/>
          </a:prstGeom>
          <a:solidFill>
            <a:srgbClr val="2F80C3">
              <a:alpha val="17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10" name="Shape 6"/>
          <p:cNvSpPr/>
          <p:nvPr/>
        </p:nvSpPr>
        <p:spPr>
          <a:xfrm>
            <a:off x="1664208" y="868680"/>
            <a:ext cx="8275320" cy="5504688"/>
          </a:xfrm>
          <a:prstGeom prst="ellipse">
            <a:avLst/>
          </a:prstGeom>
          <a:solidFill>
            <a:srgbClr val="FFFFFF">
              <a:alpha val="0"/>
            </a:srgbClr>
          </a:solidFill>
          <a:ln w="12700">
            <a:solidFill>
              <a:srgbClr val="2F80C3">
                <a:alpha val="28000"/>
              </a:srgbClr>
            </a:solidFill>
            <a:prstDash val="dash"/>
          </a:ln>
        </p:spPr>
        <p:txBody>
          <a:bodyPr/>
          <a:lstStyle/>
          <a:p>
            <a:endParaRPr lang="en-NZ"/>
          </a:p>
        </p:txBody>
      </p:sp>
      <p:sp>
        <p:nvSpPr>
          <p:cNvPr id="11" name="Shape 7"/>
          <p:cNvSpPr/>
          <p:nvPr/>
        </p:nvSpPr>
        <p:spPr>
          <a:xfrm>
            <a:off x="3035808" y="1627632"/>
            <a:ext cx="5532120" cy="3977640"/>
          </a:xfrm>
          <a:prstGeom prst="ellipse">
            <a:avLst/>
          </a:prstGeom>
          <a:solidFill>
            <a:srgbClr val="FFFFFF">
              <a:alpha val="0"/>
            </a:srgbClr>
          </a:solidFill>
          <a:ln w="12700">
            <a:solidFill>
              <a:srgbClr val="2F80C3">
                <a:alpha val="28000"/>
              </a:srgbClr>
            </a:solidFill>
            <a:prstDash val="dash"/>
          </a:ln>
        </p:spPr>
        <p:txBody>
          <a:bodyPr/>
          <a:lstStyle/>
          <a:p>
            <a:endParaRPr lang="en-NZ"/>
          </a:p>
        </p:txBody>
      </p:sp>
      <p:sp>
        <p:nvSpPr>
          <p:cNvPr id="12" name="Shape 8"/>
          <p:cNvSpPr/>
          <p:nvPr/>
        </p:nvSpPr>
        <p:spPr>
          <a:xfrm rot="-8750418">
            <a:off x="2508421" y="2402129"/>
            <a:ext cx="1237653" cy="23774"/>
          </a:xfrm>
          <a:prstGeom prst="rect">
            <a:avLst/>
          </a:prstGeom>
          <a:solidFill>
            <a:srgbClr val="C89211">
              <a:alpha val="52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13" name="Shape 9"/>
          <p:cNvSpPr/>
          <p:nvPr/>
        </p:nvSpPr>
        <p:spPr>
          <a:xfrm>
            <a:off x="3095244" y="2382012"/>
            <a:ext cx="64008" cy="64008"/>
          </a:xfrm>
          <a:prstGeom prst="ellipse">
            <a:avLst/>
          </a:prstGeom>
          <a:solidFill>
            <a:srgbClr val="C89211"/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14" name="Shape 10"/>
          <p:cNvSpPr/>
          <p:nvPr/>
        </p:nvSpPr>
        <p:spPr>
          <a:xfrm>
            <a:off x="713232" y="1627632"/>
            <a:ext cx="2176272" cy="1033272"/>
          </a:xfrm>
          <a:prstGeom prst="roundRect">
            <a:avLst>
              <a:gd name="adj" fmla="val 7080"/>
            </a:avLst>
          </a:prstGeom>
          <a:solidFill>
            <a:srgbClr val="EAF2FB">
              <a:alpha val="95000"/>
            </a:srgbClr>
          </a:solidFill>
          <a:ln w="15240">
            <a:solidFill>
              <a:srgbClr val="2F80C3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15" name="Text 11"/>
          <p:cNvSpPr/>
          <p:nvPr/>
        </p:nvSpPr>
        <p:spPr>
          <a:xfrm>
            <a:off x="859536" y="1728216"/>
            <a:ext cx="190195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20" b="1" dirty="0">
                <a:solidFill>
                  <a:srgbClr val="1E5A93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Market scanning</a:t>
            </a:r>
            <a:endParaRPr lang="en-US" sz="1320" dirty="0"/>
          </a:p>
        </p:txBody>
      </p:sp>
      <p:sp>
        <p:nvSpPr>
          <p:cNvPr id="16" name="Text 12"/>
          <p:cNvSpPr/>
          <p:nvPr/>
        </p:nvSpPr>
        <p:spPr>
          <a:xfrm>
            <a:off x="859536" y="2002536"/>
            <a:ext cx="1883664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ommodity shifts, tariffs,</a:t>
            </a:r>
            <a:endParaRPr lang="en-US" sz="1030" dirty="0"/>
          </a:p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limate events, geopolitical signals</a:t>
            </a:r>
            <a:endParaRPr lang="en-US" sz="1030" dirty="0"/>
          </a:p>
        </p:txBody>
      </p:sp>
      <p:sp>
        <p:nvSpPr>
          <p:cNvPr id="17" name="Shape 13"/>
          <p:cNvSpPr/>
          <p:nvPr/>
        </p:nvSpPr>
        <p:spPr>
          <a:xfrm rot="-2035407">
            <a:off x="8443661" y="2402129"/>
            <a:ext cx="1245230" cy="23774"/>
          </a:xfrm>
          <a:prstGeom prst="rect">
            <a:avLst/>
          </a:prstGeom>
          <a:solidFill>
            <a:srgbClr val="C89211">
              <a:alpha val="52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18" name="Shape 14"/>
          <p:cNvSpPr/>
          <p:nvPr/>
        </p:nvSpPr>
        <p:spPr>
          <a:xfrm>
            <a:off x="9034272" y="2382012"/>
            <a:ext cx="64008" cy="64008"/>
          </a:xfrm>
          <a:prstGeom prst="ellipse">
            <a:avLst/>
          </a:prstGeom>
          <a:solidFill>
            <a:srgbClr val="C89211"/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19" name="Shape 15"/>
          <p:cNvSpPr/>
          <p:nvPr/>
        </p:nvSpPr>
        <p:spPr>
          <a:xfrm>
            <a:off x="9308592" y="1627632"/>
            <a:ext cx="2176272" cy="1033272"/>
          </a:xfrm>
          <a:prstGeom prst="roundRect">
            <a:avLst>
              <a:gd name="adj" fmla="val 7080"/>
            </a:avLst>
          </a:prstGeom>
          <a:solidFill>
            <a:srgbClr val="EAF2FB">
              <a:alpha val="95000"/>
            </a:srgbClr>
          </a:solidFill>
          <a:ln w="15240">
            <a:solidFill>
              <a:srgbClr val="2F80C3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20" name="Text 16"/>
          <p:cNvSpPr/>
          <p:nvPr/>
        </p:nvSpPr>
        <p:spPr>
          <a:xfrm>
            <a:off x="9454896" y="1728216"/>
            <a:ext cx="190195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20" b="1" dirty="0">
                <a:solidFill>
                  <a:srgbClr val="1E5A93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ontract intelligence</a:t>
            </a:r>
            <a:endParaRPr lang="en-US" sz="1320" dirty="0"/>
          </a:p>
        </p:txBody>
      </p:sp>
      <p:sp>
        <p:nvSpPr>
          <p:cNvPr id="21" name="Text 17"/>
          <p:cNvSpPr/>
          <p:nvPr/>
        </p:nvSpPr>
        <p:spPr>
          <a:xfrm>
            <a:off x="9454896" y="2002536"/>
            <a:ext cx="1883664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lause extraction, gap</a:t>
            </a:r>
            <a:endParaRPr lang="en-US" sz="1030" dirty="0"/>
          </a:p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analysis, compliance review, Q&amp;A</a:t>
            </a:r>
            <a:endParaRPr lang="en-US" sz="1030" dirty="0"/>
          </a:p>
        </p:txBody>
      </p:sp>
      <p:sp>
        <p:nvSpPr>
          <p:cNvPr id="22" name="Shape 18"/>
          <p:cNvSpPr/>
          <p:nvPr/>
        </p:nvSpPr>
        <p:spPr>
          <a:xfrm rot="10413028">
            <a:off x="2630123" y="3613709"/>
            <a:ext cx="1058258" cy="23774"/>
          </a:xfrm>
          <a:prstGeom prst="rect">
            <a:avLst/>
          </a:prstGeom>
          <a:solidFill>
            <a:srgbClr val="C89211">
              <a:alpha val="52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23" name="Shape 19"/>
          <p:cNvSpPr/>
          <p:nvPr/>
        </p:nvSpPr>
        <p:spPr>
          <a:xfrm>
            <a:off x="3127248" y="3593592"/>
            <a:ext cx="64008" cy="64008"/>
          </a:xfrm>
          <a:prstGeom prst="ellipse">
            <a:avLst/>
          </a:prstGeom>
          <a:solidFill>
            <a:srgbClr val="C89211"/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24" name="Shape 20"/>
          <p:cNvSpPr/>
          <p:nvPr/>
        </p:nvSpPr>
        <p:spPr>
          <a:xfrm>
            <a:off x="713232" y="3429000"/>
            <a:ext cx="2176272" cy="1033272"/>
          </a:xfrm>
          <a:prstGeom prst="roundRect">
            <a:avLst>
              <a:gd name="adj" fmla="val 7080"/>
            </a:avLst>
          </a:prstGeom>
          <a:solidFill>
            <a:srgbClr val="EAF2FB">
              <a:alpha val="95000"/>
            </a:srgbClr>
          </a:solidFill>
          <a:ln w="15240">
            <a:solidFill>
              <a:srgbClr val="2F80C3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25" name="Text 21"/>
          <p:cNvSpPr/>
          <p:nvPr/>
        </p:nvSpPr>
        <p:spPr>
          <a:xfrm>
            <a:off x="859536" y="3529584"/>
            <a:ext cx="190195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20" b="1" dirty="0">
                <a:solidFill>
                  <a:srgbClr val="1E5A93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upplier intelligence</a:t>
            </a:r>
            <a:endParaRPr lang="en-US" sz="1320" dirty="0"/>
          </a:p>
        </p:txBody>
      </p:sp>
      <p:sp>
        <p:nvSpPr>
          <p:cNvPr id="26" name="Text 22"/>
          <p:cNvSpPr/>
          <p:nvPr/>
        </p:nvSpPr>
        <p:spPr>
          <a:xfrm>
            <a:off x="859536" y="3803904"/>
            <a:ext cx="1883664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ESG scoring, risk signals,</a:t>
            </a:r>
            <a:endParaRPr lang="en-US" sz="1030" dirty="0"/>
          </a:p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adverse media, maturity tracking</a:t>
            </a:r>
            <a:endParaRPr lang="en-US" sz="1030" dirty="0"/>
          </a:p>
        </p:txBody>
      </p:sp>
      <p:sp>
        <p:nvSpPr>
          <p:cNvPr id="27" name="Shape 23"/>
          <p:cNvSpPr/>
          <p:nvPr/>
        </p:nvSpPr>
        <p:spPr>
          <a:xfrm rot="386972">
            <a:off x="8528003" y="3613709"/>
            <a:ext cx="1058258" cy="23774"/>
          </a:xfrm>
          <a:prstGeom prst="rect">
            <a:avLst/>
          </a:prstGeom>
          <a:solidFill>
            <a:srgbClr val="C89211">
              <a:alpha val="52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28" name="Shape 24"/>
          <p:cNvSpPr/>
          <p:nvPr/>
        </p:nvSpPr>
        <p:spPr>
          <a:xfrm>
            <a:off x="9025128" y="3593592"/>
            <a:ext cx="64008" cy="64008"/>
          </a:xfrm>
          <a:prstGeom prst="ellipse">
            <a:avLst/>
          </a:prstGeom>
          <a:solidFill>
            <a:srgbClr val="C89211"/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29" name="Shape 25"/>
          <p:cNvSpPr/>
          <p:nvPr/>
        </p:nvSpPr>
        <p:spPr>
          <a:xfrm>
            <a:off x="9308592" y="3429000"/>
            <a:ext cx="2176272" cy="1033272"/>
          </a:xfrm>
          <a:prstGeom prst="roundRect">
            <a:avLst>
              <a:gd name="adj" fmla="val 7080"/>
            </a:avLst>
          </a:prstGeom>
          <a:solidFill>
            <a:srgbClr val="EAF2FB">
              <a:alpha val="95000"/>
            </a:srgbClr>
          </a:solidFill>
          <a:ln w="15240">
            <a:solidFill>
              <a:srgbClr val="2F80C3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30" name="Text 26"/>
          <p:cNvSpPr/>
          <p:nvPr/>
        </p:nvSpPr>
        <p:spPr>
          <a:xfrm>
            <a:off x="9454896" y="3529584"/>
            <a:ext cx="190195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20" b="1" dirty="0">
                <a:solidFill>
                  <a:srgbClr val="1E5A93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ategory research</a:t>
            </a:r>
            <a:endParaRPr lang="en-US" sz="1320" dirty="0"/>
          </a:p>
        </p:txBody>
      </p:sp>
      <p:sp>
        <p:nvSpPr>
          <p:cNvPr id="31" name="Text 27"/>
          <p:cNvSpPr/>
          <p:nvPr/>
        </p:nvSpPr>
        <p:spPr>
          <a:xfrm>
            <a:off x="9454896" y="3803904"/>
            <a:ext cx="1883664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Trends, benchmarks, carbon</a:t>
            </a:r>
            <a:endParaRPr lang="en-US" sz="1030" dirty="0"/>
          </a:p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hotspots, peer analysis</a:t>
            </a:r>
            <a:endParaRPr lang="en-US" sz="1030" dirty="0"/>
          </a:p>
        </p:txBody>
      </p:sp>
      <p:sp>
        <p:nvSpPr>
          <p:cNvPr id="32" name="Shape 28"/>
          <p:cNvSpPr/>
          <p:nvPr/>
        </p:nvSpPr>
        <p:spPr>
          <a:xfrm rot="9566637">
            <a:off x="3072530" y="4514393"/>
            <a:ext cx="1718780" cy="23774"/>
          </a:xfrm>
          <a:prstGeom prst="rect">
            <a:avLst/>
          </a:prstGeom>
          <a:solidFill>
            <a:srgbClr val="C89211">
              <a:alpha val="52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33" name="Shape 29"/>
          <p:cNvSpPr/>
          <p:nvPr/>
        </p:nvSpPr>
        <p:spPr>
          <a:xfrm>
            <a:off x="3899916" y="4494276"/>
            <a:ext cx="64008" cy="64008"/>
          </a:xfrm>
          <a:prstGeom prst="ellipse">
            <a:avLst/>
          </a:prstGeom>
          <a:solidFill>
            <a:srgbClr val="C89211"/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34" name="Shape 30"/>
          <p:cNvSpPr/>
          <p:nvPr/>
        </p:nvSpPr>
        <p:spPr>
          <a:xfrm>
            <a:off x="1170432" y="4800600"/>
            <a:ext cx="2240280" cy="896112"/>
          </a:xfrm>
          <a:prstGeom prst="roundRect">
            <a:avLst>
              <a:gd name="adj" fmla="val 8163"/>
            </a:avLst>
          </a:prstGeom>
          <a:solidFill>
            <a:srgbClr val="EAF2FB">
              <a:alpha val="95000"/>
            </a:srgbClr>
          </a:solidFill>
          <a:ln w="15240">
            <a:solidFill>
              <a:srgbClr val="2F80C3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35" name="Text 31"/>
          <p:cNvSpPr/>
          <p:nvPr/>
        </p:nvSpPr>
        <p:spPr>
          <a:xfrm>
            <a:off x="1316736" y="4901184"/>
            <a:ext cx="1965960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20" b="1" dirty="0">
                <a:solidFill>
                  <a:srgbClr val="1E5A93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ourcing execution</a:t>
            </a:r>
            <a:endParaRPr lang="en-US" sz="1320" dirty="0"/>
          </a:p>
        </p:txBody>
      </p:sp>
      <p:sp>
        <p:nvSpPr>
          <p:cNvPr id="36" name="Text 32"/>
          <p:cNvSpPr/>
          <p:nvPr/>
        </p:nvSpPr>
        <p:spPr>
          <a:xfrm>
            <a:off x="1316736" y="5175504"/>
            <a:ext cx="1947672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RFx drafting, evaluation,</a:t>
            </a:r>
            <a:endParaRPr lang="en-US" sz="1030" dirty="0"/>
          </a:p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hort-listing, scenario modelling</a:t>
            </a:r>
            <a:endParaRPr lang="en-US" sz="1030" dirty="0"/>
          </a:p>
        </p:txBody>
      </p:sp>
      <p:sp>
        <p:nvSpPr>
          <p:cNvPr id="37" name="Shape 33"/>
          <p:cNvSpPr/>
          <p:nvPr/>
        </p:nvSpPr>
        <p:spPr>
          <a:xfrm rot="9336034">
            <a:off x="4647379" y="4578401"/>
            <a:ext cx="973954" cy="23774"/>
          </a:xfrm>
          <a:prstGeom prst="rect">
            <a:avLst/>
          </a:prstGeom>
          <a:solidFill>
            <a:srgbClr val="C89211">
              <a:alpha val="52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38" name="Shape 34"/>
          <p:cNvSpPr/>
          <p:nvPr/>
        </p:nvSpPr>
        <p:spPr>
          <a:xfrm>
            <a:off x="5102352" y="4558284"/>
            <a:ext cx="64008" cy="64008"/>
          </a:xfrm>
          <a:prstGeom prst="ellipse">
            <a:avLst/>
          </a:prstGeom>
          <a:solidFill>
            <a:srgbClr val="C89211"/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39" name="Shape 35"/>
          <p:cNvSpPr/>
          <p:nvPr/>
        </p:nvSpPr>
        <p:spPr>
          <a:xfrm>
            <a:off x="3767328" y="4800600"/>
            <a:ext cx="1856232" cy="896112"/>
          </a:xfrm>
          <a:prstGeom prst="roundRect">
            <a:avLst>
              <a:gd name="adj" fmla="val 8163"/>
            </a:avLst>
          </a:prstGeom>
          <a:solidFill>
            <a:srgbClr val="EAF2FB">
              <a:alpha val="95000"/>
            </a:srgbClr>
          </a:solidFill>
          <a:ln w="15240">
            <a:solidFill>
              <a:srgbClr val="2F80C3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40" name="Text 36"/>
          <p:cNvSpPr/>
          <p:nvPr/>
        </p:nvSpPr>
        <p:spPr>
          <a:xfrm>
            <a:off x="3913632" y="4901184"/>
            <a:ext cx="158191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20" b="1" dirty="0">
                <a:solidFill>
                  <a:srgbClr val="1E5A93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pend analytics</a:t>
            </a:r>
            <a:endParaRPr lang="en-US" sz="1320" dirty="0"/>
          </a:p>
        </p:txBody>
      </p:sp>
      <p:sp>
        <p:nvSpPr>
          <p:cNvPr id="41" name="Text 37"/>
          <p:cNvSpPr/>
          <p:nvPr/>
        </p:nvSpPr>
        <p:spPr>
          <a:xfrm>
            <a:off x="3913632" y="5175504"/>
            <a:ext cx="1563624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Patterns, leakage, demand</a:t>
            </a:r>
            <a:endParaRPr lang="en-US" sz="1030" dirty="0"/>
          </a:p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ignals, validation</a:t>
            </a:r>
            <a:endParaRPr lang="en-US" sz="1030" dirty="0"/>
          </a:p>
        </p:txBody>
      </p:sp>
      <p:sp>
        <p:nvSpPr>
          <p:cNvPr id="42" name="Shape 38"/>
          <p:cNvSpPr/>
          <p:nvPr/>
        </p:nvSpPr>
        <p:spPr>
          <a:xfrm rot="1463966">
            <a:off x="6585907" y="4578401"/>
            <a:ext cx="973954" cy="23774"/>
          </a:xfrm>
          <a:prstGeom prst="rect">
            <a:avLst/>
          </a:prstGeom>
          <a:solidFill>
            <a:srgbClr val="C89211">
              <a:alpha val="52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43" name="Shape 39"/>
          <p:cNvSpPr/>
          <p:nvPr/>
        </p:nvSpPr>
        <p:spPr>
          <a:xfrm>
            <a:off x="7040880" y="4558284"/>
            <a:ext cx="64008" cy="64008"/>
          </a:xfrm>
          <a:prstGeom prst="ellipse">
            <a:avLst/>
          </a:prstGeom>
          <a:solidFill>
            <a:srgbClr val="C89211"/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44" name="Shape 40"/>
          <p:cNvSpPr/>
          <p:nvPr/>
        </p:nvSpPr>
        <p:spPr>
          <a:xfrm>
            <a:off x="6629400" y="4800600"/>
            <a:ext cx="1856232" cy="896112"/>
          </a:xfrm>
          <a:prstGeom prst="roundRect">
            <a:avLst>
              <a:gd name="adj" fmla="val 8163"/>
            </a:avLst>
          </a:prstGeom>
          <a:solidFill>
            <a:srgbClr val="EAF2FB">
              <a:alpha val="95000"/>
            </a:srgbClr>
          </a:solidFill>
          <a:ln w="15240">
            <a:solidFill>
              <a:srgbClr val="2F80C3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45" name="Text 41"/>
          <p:cNvSpPr/>
          <p:nvPr/>
        </p:nvSpPr>
        <p:spPr>
          <a:xfrm>
            <a:off x="6775704" y="4901184"/>
            <a:ext cx="158191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20" b="1" dirty="0">
                <a:solidFill>
                  <a:srgbClr val="1E5A93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cope 3 data</a:t>
            </a:r>
            <a:endParaRPr lang="en-US" sz="1320" dirty="0"/>
          </a:p>
        </p:txBody>
      </p:sp>
      <p:sp>
        <p:nvSpPr>
          <p:cNvPr id="46" name="Text 42"/>
          <p:cNvSpPr/>
          <p:nvPr/>
        </p:nvSpPr>
        <p:spPr>
          <a:xfrm>
            <a:off x="6775704" y="5175504"/>
            <a:ext cx="1563624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ollection, validation,</a:t>
            </a:r>
            <a:endParaRPr lang="en-US" sz="1030" dirty="0"/>
          </a:p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PCF exchange</a:t>
            </a:r>
            <a:endParaRPr lang="en-US" sz="1030" dirty="0"/>
          </a:p>
        </p:txBody>
      </p:sp>
      <p:sp>
        <p:nvSpPr>
          <p:cNvPr id="47" name="Shape 43"/>
          <p:cNvSpPr/>
          <p:nvPr/>
        </p:nvSpPr>
        <p:spPr>
          <a:xfrm rot="1149337">
            <a:off x="7401443" y="4514393"/>
            <a:ext cx="1839195" cy="23774"/>
          </a:xfrm>
          <a:prstGeom prst="rect">
            <a:avLst/>
          </a:prstGeom>
          <a:solidFill>
            <a:srgbClr val="C89211">
              <a:alpha val="52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48" name="Shape 44"/>
          <p:cNvSpPr/>
          <p:nvPr/>
        </p:nvSpPr>
        <p:spPr>
          <a:xfrm>
            <a:off x="8289036" y="4494276"/>
            <a:ext cx="64008" cy="64008"/>
          </a:xfrm>
          <a:prstGeom prst="ellipse">
            <a:avLst/>
          </a:prstGeom>
          <a:solidFill>
            <a:srgbClr val="C89211"/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49" name="Shape 45"/>
          <p:cNvSpPr/>
          <p:nvPr/>
        </p:nvSpPr>
        <p:spPr>
          <a:xfrm>
            <a:off x="8915400" y="4800600"/>
            <a:ext cx="2313432" cy="896112"/>
          </a:xfrm>
          <a:prstGeom prst="roundRect">
            <a:avLst>
              <a:gd name="adj" fmla="val 8163"/>
            </a:avLst>
          </a:prstGeom>
          <a:solidFill>
            <a:srgbClr val="EAF2FB">
              <a:alpha val="95000"/>
            </a:srgbClr>
          </a:solidFill>
          <a:ln w="15240">
            <a:solidFill>
              <a:srgbClr val="2F80C3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50" name="Text 46"/>
          <p:cNvSpPr/>
          <p:nvPr/>
        </p:nvSpPr>
        <p:spPr>
          <a:xfrm>
            <a:off x="9061704" y="4901184"/>
            <a:ext cx="203911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20" b="1" dirty="0">
                <a:solidFill>
                  <a:srgbClr val="1E5A93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Reporting &amp; comms</a:t>
            </a:r>
            <a:endParaRPr lang="en-US" sz="1320" dirty="0"/>
          </a:p>
        </p:txBody>
      </p:sp>
      <p:sp>
        <p:nvSpPr>
          <p:cNvPr id="51" name="Text 47"/>
          <p:cNvSpPr/>
          <p:nvPr/>
        </p:nvSpPr>
        <p:spPr>
          <a:xfrm>
            <a:off x="9061704" y="5175504"/>
            <a:ext cx="2020824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Dashboards, supplier letters,</a:t>
            </a:r>
            <a:endParaRPr lang="en-US" sz="1030" dirty="0"/>
          </a:p>
          <a:p>
            <a:pPr marL="0" indent="0">
              <a:buNone/>
            </a:pPr>
            <a:r>
              <a:rPr lang="en-US" sz="1030" dirty="0">
                <a:solidFill>
                  <a:srgbClr val="4B607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ampaign tracking, board packs</a:t>
            </a:r>
            <a:endParaRPr lang="en-US" sz="1030" dirty="0"/>
          </a:p>
        </p:txBody>
      </p:sp>
      <p:sp>
        <p:nvSpPr>
          <p:cNvPr id="52" name="Shape 48"/>
          <p:cNvSpPr/>
          <p:nvPr/>
        </p:nvSpPr>
        <p:spPr>
          <a:xfrm>
            <a:off x="5029200" y="2267712"/>
            <a:ext cx="2121408" cy="2121408"/>
          </a:xfrm>
          <a:prstGeom prst="ellipse">
            <a:avLst/>
          </a:prstGeom>
          <a:solidFill>
            <a:srgbClr val="F0A014"/>
          </a:solidFill>
          <a:ln/>
          <a:effectLst>
            <a:outerShdw blurRad="25400" dist="571500" dir="1800000" algn="bl" rotWithShape="0">
              <a:srgbClr val="7A5600">
                <a:alpha val="18000"/>
              </a:srgbClr>
            </a:outerShdw>
          </a:effectLst>
        </p:spPr>
        <p:txBody>
          <a:bodyPr/>
          <a:lstStyle/>
          <a:p>
            <a:endParaRPr lang="en-NZ"/>
          </a:p>
        </p:txBody>
      </p:sp>
      <p:sp>
        <p:nvSpPr>
          <p:cNvPr id="53" name="Text 49"/>
          <p:cNvSpPr/>
          <p:nvPr/>
        </p:nvSpPr>
        <p:spPr>
          <a:xfrm>
            <a:off x="5193792" y="2798064"/>
            <a:ext cx="1792224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820" b="1" dirty="0">
                <a:solidFill>
                  <a:srgbClr val="5C3A00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The conductor</a:t>
            </a:r>
            <a:endParaRPr lang="en-US" sz="1820" dirty="0"/>
          </a:p>
        </p:txBody>
      </p:sp>
      <p:sp>
        <p:nvSpPr>
          <p:cNvPr id="54" name="Text 50"/>
          <p:cNvSpPr/>
          <p:nvPr/>
        </p:nvSpPr>
        <p:spPr>
          <a:xfrm>
            <a:off x="5257800" y="3145536"/>
            <a:ext cx="1664208" cy="859536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rgbClr val="5C3A00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trategy</a:t>
            </a:r>
            <a:endParaRPr lang="en-US" sz="1200" dirty="0"/>
          </a:p>
          <a:p>
            <a:pPr marL="0" indent="0" algn="ctr">
              <a:buNone/>
            </a:pPr>
            <a:r>
              <a:rPr lang="en-US" sz="1200" dirty="0">
                <a:solidFill>
                  <a:srgbClr val="5C3A00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Relationships</a:t>
            </a:r>
            <a:endParaRPr lang="en-US" sz="1200" dirty="0"/>
          </a:p>
          <a:p>
            <a:pPr marL="0" indent="0" algn="ctr">
              <a:buNone/>
            </a:pPr>
            <a:r>
              <a:rPr lang="en-US" sz="1200" dirty="0">
                <a:solidFill>
                  <a:srgbClr val="5C3A00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Governance</a:t>
            </a:r>
            <a:endParaRPr lang="en-US" sz="1200" dirty="0"/>
          </a:p>
          <a:p>
            <a:pPr marL="0" indent="0" algn="ctr">
              <a:buNone/>
            </a:pPr>
            <a:r>
              <a:rPr lang="en-US" sz="1200" dirty="0">
                <a:solidFill>
                  <a:srgbClr val="5C3A00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Innovation</a:t>
            </a:r>
            <a:endParaRPr lang="en-US" sz="1200" dirty="0"/>
          </a:p>
        </p:txBody>
      </p:sp>
      <p:sp>
        <p:nvSpPr>
          <p:cNvPr id="55" name="Shape 51"/>
          <p:cNvSpPr/>
          <p:nvPr/>
        </p:nvSpPr>
        <p:spPr>
          <a:xfrm>
            <a:off x="502920" y="6037964"/>
            <a:ext cx="10981944" cy="365760"/>
          </a:xfrm>
          <a:prstGeom prst="rect">
            <a:avLst/>
          </a:prstGeom>
          <a:solidFill>
            <a:srgbClr val="DCE6F2"/>
          </a:solidFill>
          <a:ln w="12700">
            <a:solidFill>
              <a:srgbClr val="DCE6F2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56" name="Shape 52"/>
          <p:cNvSpPr/>
          <p:nvPr/>
        </p:nvSpPr>
        <p:spPr>
          <a:xfrm>
            <a:off x="502920" y="6037964"/>
            <a:ext cx="89139" cy="365760"/>
          </a:xfrm>
          <a:prstGeom prst="rect">
            <a:avLst/>
          </a:prstGeom>
          <a:solidFill>
            <a:srgbClr val="1B75BC"/>
          </a:solidFill>
          <a:ln w="12700">
            <a:solidFill>
              <a:srgbClr val="1B75BC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57" name="Text 53"/>
          <p:cNvSpPr/>
          <p:nvPr/>
        </p:nvSpPr>
        <p:spPr>
          <a:xfrm>
            <a:off x="667512" y="6074540"/>
            <a:ext cx="1051842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223A59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AI takes the sensing, drafting and checking. People steer policy, exceptions and supplier outcomes.</a:t>
            </a:r>
            <a:endParaRPr lang="en-US" sz="16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1"/>
          <p:cNvSpPr/>
          <p:nvPr/>
        </p:nvSpPr>
        <p:spPr>
          <a:xfrm>
            <a:off x="502920" y="420624"/>
            <a:ext cx="932688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550" b="1" dirty="0">
                <a:solidFill>
                  <a:srgbClr val="1F293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02. The emerging procurement tech stack</a:t>
            </a:r>
            <a:endParaRPr lang="en-US" sz="2550" dirty="0"/>
          </a:p>
        </p:txBody>
      </p:sp>
      <p:sp>
        <p:nvSpPr>
          <p:cNvPr id="6" name="Text 2"/>
          <p:cNvSpPr/>
          <p:nvPr/>
        </p:nvSpPr>
        <p:spPr>
          <a:xfrm>
            <a:off x="502920" y="850392"/>
            <a:ext cx="1060704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50" dirty="0">
                <a:solidFill>
                  <a:srgbClr val="5B6675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Four layers powering sustainable procurement — backbone alone won’t get you there.</a:t>
            </a:r>
            <a:endParaRPr lang="en-US" sz="1450" dirty="0"/>
          </a:p>
        </p:txBody>
      </p:sp>
      <p:sp>
        <p:nvSpPr>
          <p:cNvPr id="7" name="Shape 3"/>
          <p:cNvSpPr/>
          <p:nvPr/>
        </p:nvSpPr>
        <p:spPr>
          <a:xfrm>
            <a:off x="502920" y="1316736"/>
            <a:ext cx="11247120" cy="4663440"/>
          </a:xfrm>
          <a:prstGeom prst="roundRect">
            <a:avLst>
              <a:gd name="adj" fmla="val 1569"/>
            </a:avLst>
          </a:prstGeom>
          <a:solidFill>
            <a:srgbClr val="F7FAFC"/>
          </a:solidFill>
          <a:ln w="12700">
            <a:solidFill>
              <a:srgbClr val="F7FAFC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8" name="Shape 4"/>
          <p:cNvSpPr/>
          <p:nvPr/>
        </p:nvSpPr>
        <p:spPr>
          <a:xfrm>
            <a:off x="548640" y="1572768"/>
            <a:ext cx="10927080" cy="1005840"/>
          </a:xfrm>
          <a:prstGeom prst="roundRect">
            <a:avLst>
              <a:gd name="adj" fmla="val 12727"/>
            </a:avLst>
          </a:prstGeom>
          <a:solidFill>
            <a:srgbClr val="FDF5E8">
              <a:alpha val="96000"/>
            </a:srgbClr>
          </a:solidFill>
          <a:ln w="13970">
            <a:solidFill>
              <a:srgbClr val="C89211">
                <a:alpha val="88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9" name="Text 5"/>
          <p:cNvSpPr/>
          <p:nvPr/>
        </p:nvSpPr>
        <p:spPr>
          <a:xfrm>
            <a:off x="749808" y="1700784"/>
            <a:ext cx="59436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3300" b="1" dirty="0">
                <a:solidFill>
                  <a:srgbClr val="C89211">
                    <a:alpha val="65000"/>
                  </a:srgbClr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4</a:t>
            </a:r>
            <a:endParaRPr lang="en-US" sz="3300" dirty="0"/>
          </a:p>
        </p:txBody>
      </p:sp>
      <p:sp>
        <p:nvSpPr>
          <p:cNvPr id="10" name="Text 6"/>
          <p:cNvSpPr/>
          <p:nvPr/>
        </p:nvSpPr>
        <p:spPr>
          <a:xfrm>
            <a:off x="1627632" y="1709928"/>
            <a:ext cx="530352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800" b="1" dirty="0">
                <a:solidFill>
                  <a:srgbClr val="C89211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Orchestration layer</a:t>
            </a:r>
            <a:endParaRPr lang="en-US" sz="1800" dirty="0"/>
          </a:p>
        </p:txBody>
      </p:sp>
      <p:sp>
        <p:nvSpPr>
          <p:cNvPr id="11" name="Text 7"/>
          <p:cNvSpPr/>
          <p:nvPr/>
        </p:nvSpPr>
        <p:spPr>
          <a:xfrm>
            <a:off x="1627632" y="2011680"/>
            <a:ext cx="813816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10" dirty="0">
                <a:solidFill>
                  <a:srgbClr val="5B6675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Intake, workflow routing, approvals, policy enforcement — the new battleground.</a:t>
            </a:r>
            <a:endParaRPr lang="en-US" sz="1110" dirty="0"/>
          </a:p>
        </p:txBody>
      </p:sp>
      <p:sp>
        <p:nvSpPr>
          <p:cNvPr id="12" name="Shape 8"/>
          <p:cNvSpPr/>
          <p:nvPr/>
        </p:nvSpPr>
        <p:spPr>
          <a:xfrm>
            <a:off x="1627632" y="2286000"/>
            <a:ext cx="969264" cy="256032"/>
          </a:xfrm>
          <a:prstGeom prst="roundRect">
            <a:avLst>
              <a:gd name="adj" fmla="val 28571"/>
            </a:avLst>
          </a:prstGeom>
          <a:solidFill>
            <a:srgbClr val="C89211">
              <a:alpha val="94000"/>
            </a:srgbClr>
          </a:solidFill>
          <a:ln w="8890">
            <a:solidFill>
              <a:srgbClr val="C89211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13" name="Text 9"/>
          <p:cNvSpPr/>
          <p:nvPr/>
        </p:nvSpPr>
        <p:spPr>
          <a:xfrm>
            <a:off x="1682496" y="2322576"/>
            <a:ext cx="859536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ORO Labs</a:t>
            </a:r>
            <a:endParaRPr lang="en-US" sz="1040" dirty="0"/>
          </a:p>
        </p:txBody>
      </p:sp>
      <p:sp>
        <p:nvSpPr>
          <p:cNvPr id="14" name="Shape 10"/>
          <p:cNvSpPr/>
          <p:nvPr/>
        </p:nvSpPr>
        <p:spPr>
          <a:xfrm>
            <a:off x="2670048" y="2286000"/>
            <a:ext cx="594360" cy="256032"/>
          </a:xfrm>
          <a:prstGeom prst="roundRect">
            <a:avLst>
              <a:gd name="adj" fmla="val 28571"/>
            </a:avLst>
          </a:prstGeom>
          <a:solidFill>
            <a:srgbClr val="C89211">
              <a:alpha val="94000"/>
            </a:srgbClr>
          </a:solidFill>
          <a:ln w="8890">
            <a:solidFill>
              <a:srgbClr val="C89211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15" name="Text 11"/>
          <p:cNvSpPr/>
          <p:nvPr/>
        </p:nvSpPr>
        <p:spPr>
          <a:xfrm>
            <a:off x="2724912" y="2322576"/>
            <a:ext cx="48463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Zip</a:t>
            </a:r>
            <a:endParaRPr lang="en-US" sz="1040" dirty="0"/>
          </a:p>
        </p:txBody>
      </p:sp>
      <p:sp>
        <p:nvSpPr>
          <p:cNvPr id="16" name="Shape 12"/>
          <p:cNvSpPr/>
          <p:nvPr/>
        </p:nvSpPr>
        <p:spPr>
          <a:xfrm>
            <a:off x="3337560" y="2286000"/>
            <a:ext cx="736092" cy="256032"/>
          </a:xfrm>
          <a:prstGeom prst="roundRect">
            <a:avLst>
              <a:gd name="adj" fmla="val 28571"/>
            </a:avLst>
          </a:prstGeom>
          <a:solidFill>
            <a:srgbClr val="C89211">
              <a:alpha val="94000"/>
            </a:srgbClr>
          </a:solidFill>
          <a:ln w="8890">
            <a:solidFill>
              <a:srgbClr val="C89211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17" name="Text 13"/>
          <p:cNvSpPr/>
          <p:nvPr/>
        </p:nvSpPr>
        <p:spPr>
          <a:xfrm>
            <a:off x="3392424" y="2322576"/>
            <a:ext cx="626364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Omnea</a:t>
            </a:r>
            <a:endParaRPr lang="en-US" sz="1040" dirty="0"/>
          </a:p>
        </p:txBody>
      </p:sp>
      <p:sp>
        <p:nvSpPr>
          <p:cNvPr id="18" name="Shape 14"/>
          <p:cNvSpPr/>
          <p:nvPr/>
        </p:nvSpPr>
        <p:spPr>
          <a:xfrm>
            <a:off x="4146804" y="2286000"/>
            <a:ext cx="891540" cy="256032"/>
          </a:xfrm>
          <a:prstGeom prst="roundRect">
            <a:avLst>
              <a:gd name="adj" fmla="val 28571"/>
            </a:avLst>
          </a:prstGeom>
          <a:solidFill>
            <a:srgbClr val="C89211">
              <a:alpha val="94000"/>
            </a:srgbClr>
          </a:solidFill>
          <a:ln w="8890">
            <a:solidFill>
              <a:srgbClr val="C89211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19" name="Text 15"/>
          <p:cNvSpPr/>
          <p:nvPr/>
        </p:nvSpPr>
        <p:spPr>
          <a:xfrm>
            <a:off x="4201668" y="2322576"/>
            <a:ext cx="78181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Tonkean</a:t>
            </a:r>
            <a:endParaRPr lang="en-US" sz="1040" dirty="0"/>
          </a:p>
        </p:txBody>
      </p:sp>
      <p:sp>
        <p:nvSpPr>
          <p:cNvPr id="20" name="Shape 16"/>
          <p:cNvSpPr/>
          <p:nvPr/>
        </p:nvSpPr>
        <p:spPr>
          <a:xfrm>
            <a:off x="10991088" y="1408176"/>
            <a:ext cx="36576" cy="4553712"/>
          </a:xfrm>
          <a:prstGeom prst="rect">
            <a:avLst/>
          </a:prstGeom>
          <a:solidFill>
            <a:srgbClr val="D7E1EA"/>
          </a:solidFill>
          <a:ln w="12700">
            <a:solidFill>
              <a:srgbClr val="D7E1EA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21" name="Text 17"/>
          <p:cNvSpPr/>
          <p:nvPr/>
        </p:nvSpPr>
        <p:spPr>
          <a:xfrm rot="5400000">
            <a:off x="10991088" y="1901952"/>
            <a:ext cx="960120" cy="1645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020" dirty="0">
                <a:solidFill>
                  <a:srgbClr val="C89211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AI copilots</a:t>
            </a:r>
            <a:endParaRPr lang="en-US" sz="1020" dirty="0"/>
          </a:p>
          <a:p>
            <a:pPr marL="0" indent="0" algn="ctr">
              <a:buNone/>
            </a:pPr>
            <a:r>
              <a:rPr lang="en-US" sz="1020" dirty="0">
                <a:solidFill>
                  <a:srgbClr val="C89211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pan all layers</a:t>
            </a:r>
            <a:endParaRPr lang="en-US" sz="1020" dirty="0"/>
          </a:p>
        </p:txBody>
      </p:sp>
      <p:sp>
        <p:nvSpPr>
          <p:cNvPr id="22" name="Shape 18"/>
          <p:cNvSpPr/>
          <p:nvPr/>
        </p:nvSpPr>
        <p:spPr>
          <a:xfrm>
            <a:off x="548640" y="2697480"/>
            <a:ext cx="10927080" cy="1005840"/>
          </a:xfrm>
          <a:prstGeom prst="roundRect">
            <a:avLst>
              <a:gd name="adj" fmla="val 12727"/>
            </a:avLst>
          </a:prstGeom>
          <a:solidFill>
            <a:srgbClr val="EAF8F2">
              <a:alpha val="96000"/>
            </a:srgbClr>
          </a:solidFill>
          <a:ln w="13970">
            <a:solidFill>
              <a:srgbClr val="1E8E69">
                <a:alpha val="88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23" name="Text 19"/>
          <p:cNvSpPr/>
          <p:nvPr/>
        </p:nvSpPr>
        <p:spPr>
          <a:xfrm>
            <a:off x="749808" y="2825496"/>
            <a:ext cx="59436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3300" b="1" dirty="0">
                <a:solidFill>
                  <a:srgbClr val="1E8E69">
                    <a:alpha val="65000"/>
                  </a:srgbClr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3</a:t>
            </a:r>
            <a:endParaRPr lang="en-US" sz="3300" dirty="0"/>
          </a:p>
        </p:txBody>
      </p:sp>
      <p:sp>
        <p:nvSpPr>
          <p:cNvPr id="24" name="Text 20"/>
          <p:cNvSpPr/>
          <p:nvPr/>
        </p:nvSpPr>
        <p:spPr>
          <a:xfrm>
            <a:off x="1627632" y="2834640"/>
            <a:ext cx="530352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800" b="1" dirty="0">
                <a:solidFill>
                  <a:srgbClr val="1E8E69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Data layer</a:t>
            </a:r>
            <a:endParaRPr lang="en-US" sz="1800" dirty="0"/>
          </a:p>
        </p:txBody>
      </p:sp>
      <p:sp>
        <p:nvSpPr>
          <p:cNvPr id="25" name="Text 21"/>
          <p:cNvSpPr/>
          <p:nvPr/>
        </p:nvSpPr>
        <p:spPr>
          <a:xfrm>
            <a:off x="1627632" y="3136392"/>
            <a:ext cx="813816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10" dirty="0">
                <a:solidFill>
                  <a:srgbClr val="5B6675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Decision-grade intelligence — emissions, risk, ESG and market signals.</a:t>
            </a:r>
            <a:endParaRPr lang="en-US" sz="1110" dirty="0"/>
          </a:p>
        </p:txBody>
      </p:sp>
      <p:sp>
        <p:nvSpPr>
          <p:cNvPr id="26" name="Shape 22"/>
          <p:cNvSpPr/>
          <p:nvPr/>
        </p:nvSpPr>
        <p:spPr>
          <a:xfrm>
            <a:off x="1627632" y="3410712"/>
            <a:ext cx="1280160" cy="256032"/>
          </a:xfrm>
          <a:prstGeom prst="roundRect">
            <a:avLst>
              <a:gd name="adj" fmla="val 28571"/>
            </a:avLst>
          </a:prstGeom>
          <a:solidFill>
            <a:srgbClr val="1E8E69">
              <a:alpha val="94000"/>
            </a:srgbClr>
          </a:solidFill>
          <a:ln w="8890">
            <a:solidFill>
              <a:srgbClr val="1E8E69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27" name="Text 23"/>
          <p:cNvSpPr/>
          <p:nvPr/>
        </p:nvSpPr>
        <p:spPr>
          <a:xfrm>
            <a:off x="1682496" y="3447288"/>
            <a:ext cx="117043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arbon / PCF</a:t>
            </a:r>
            <a:endParaRPr lang="en-US" sz="1040" dirty="0"/>
          </a:p>
        </p:txBody>
      </p:sp>
      <p:sp>
        <p:nvSpPr>
          <p:cNvPr id="28" name="Shape 24"/>
          <p:cNvSpPr/>
          <p:nvPr/>
        </p:nvSpPr>
        <p:spPr>
          <a:xfrm>
            <a:off x="2980944" y="3410712"/>
            <a:ext cx="1357884" cy="256032"/>
          </a:xfrm>
          <a:prstGeom prst="roundRect">
            <a:avLst>
              <a:gd name="adj" fmla="val 28571"/>
            </a:avLst>
          </a:prstGeom>
          <a:solidFill>
            <a:srgbClr val="1E8E69">
              <a:alpha val="94000"/>
            </a:srgbClr>
          </a:solidFill>
          <a:ln w="8890">
            <a:solidFill>
              <a:srgbClr val="1E8E69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29" name="Text 25"/>
          <p:cNvSpPr/>
          <p:nvPr/>
        </p:nvSpPr>
        <p:spPr>
          <a:xfrm>
            <a:off x="3035808" y="3447288"/>
            <a:ext cx="1248156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Adverse media</a:t>
            </a:r>
            <a:endParaRPr lang="en-US" sz="1040" dirty="0"/>
          </a:p>
        </p:txBody>
      </p:sp>
      <p:sp>
        <p:nvSpPr>
          <p:cNvPr id="30" name="Shape 26"/>
          <p:cNvSpPr/>
          <p:nvPr/>
        </p:nvSpPr>
        <p:spPr>
          <a:xfrm>
            <a:off x="4411980" y="3410712"/>
            <a:ext cx="1202436" cy="256032"/>
          </a:xfrm>
          <a:prstGeom prst="roundRect">
            <a:avLst>
              <a:gd name="adj" fmla="val 28571"/>
            </a:avLst>
          </a:prstGeom>
          <a:solidFill>
            <a:srgbClr val="1E8E69">
              <a:alpha val="94000"/>
            </a:srgbClr>
          </a:solidFill>
          <a:ln w="8890">
            <a:solidFill>
              <a:srgbClr val="1E8E69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31" name="Text 27"/>
          <p:cNvSpPr/>
          <p:nvPr/>
        </p:nvSpPr>
        <p:spPr>
          <a:xfrm>
            <a:off x="4466844" y="3447288"/>
            <a:ext cx="1092708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ESG ratings</a:t>
            </a:r>
            <a:endParaRPr lang="en-US" sz="1040" dirty="0"/>
          </a:p>
        </p:txBody>
      </p:sp>
      <p:sp>
        <p:nvSpPr>
          <p:cNvPr id="32" name="Shape 28"/>
          <p:cNvSpPr/>
          <p:nvPr/>
        </p:nvSpPr>
        <p:spPr>
          <a:xfrm>
            <a:off x="5687568" y="3410712"/>
            <a:ext cx="1668780" cy="256032"/>
          </a:xfrm>
          <a:prstGeom prst="roundRect">
            <a:avLst>
              <a:gd name="adj" fmla="val 28571"/>
            </a:avLst>
          </a:prstGeom>
          <a:solidFill>
            <a:srgbClr val="1E8E69">
              <a:alpha val="94000"/>
            </a:srgbClr>
          </a:solidFill>
          <a:ln w="8890">
            <a:solidFill>
              <a:srgbClr val="1E8E69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33" name="Text 29"/>
          <p:cNvSpPr/>
          <p:nvPr/>
        </p:nvSpPr>
        <p:spPr>
          <a:xfrm>
            <a:off x="5742432" y="3447288"/>
            <a:ext cx="155905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PACT / Pathfinder</a:t>
            </a:r>
            <a:endParaRPr lang="en-US" sz="1040" dirty="0"/>
          </a:p>
        </p:txBody>
      </p:sp>
      <p:sp>
        <p:nvSpPr>
          <p:cNvPr id="34" name="Shape 30"/>
          <p:cNvSpPr/>
          <p:nvPr/>
        </p:nvSpPr>
        <p:spPr>
          <a:xfrm>
            <a:off x="7429500" y="3410712"/>
            <a:ext cx="1824228" cy="256032"/>
          </a:xfrm>
          <a:prstGeom prst="roundRect">
            <a:avLst>
              <a:gd name="adj" fmla="val 28571"/>
            </a:avLst>
          </a:prstGeom>
          <a:solidFill>
            <a:srgbClr val="1E8E69">
              <a:alpha val="94000"/>
            </a:srgbClr>
          </a:solidFill>
          <a:ln w="8890">
            <a:solidFill>
              <a:srgbClr val="1E8E69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35" name="Text 31"/>
          <p:cNvSpPr/>
          <p:nvPr/>
        </p:nvSpPr>
        <p:spPr>
          <a:xfrm>
            <a:off x="7484364" y="3447288"/>
            <a:ext cx="1714500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ommodity forecasts</a:t>
            </a:r>
            <a:endParaRPr lang="en-US" sz="1040" dirty="0"/>
          </a:p>
        </p:txBody>
      </p:sp>
      <p:sp>
        <p:nvSpPr>
          <p:cNvPr id="36" name="Shape 32"/>
          <p:cNvSpPr/>
          <p:nvPr/>
        </p:nvSpPr>
        <p:spPr>
          <a:xfrm>
            <a:off x="548640" y="3822192"/>
            <a:ext cx="10927080" cy="1005840"/>
          </a:xfrm>
          <a:prstGeom prst="roundRect">
            <a:avLst>
              <a:gd name="adj" fmla="val 12727"/>
            </a:avLst>
          </a:prstGeom>
          <a:solidFill>
            <a:srgbClr val="EEF0FA">
              <a:alpha val="96000"/>
            </a:srgbClr>
          </a:solidFill>
          <a:ln w="13970">
            <a:solidFill>
              <a:srgbClr val="6373C4">
                <a:alpha val="88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37" name="Text 33"/>
          <p:cNvSpPr/>
          <p:nvPr/>
        </p:nvSpPr>
        <p:spPr>
          <a:xfrm>
            <a:off x="749808" y="3950208"/>
            <a:ext cx="59436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3300" b="1" dirty="0">
                <a:solidFill>
                  <a:srgbClr val="6373C4">
                    <a:alpha val="65000"/>
                  </a:srgbClr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2</a:t>
            </a:r>
            <a:endParaRPr lang="en-US" sz="3300" dirty="0"/>
          </a:p>
        </p:txBody>
      </p:sp>
      <p:sp>
        <p:nvSpPr>
          <p:cNvPr id="38" name="Text 34"/>
          <p:cNvSpPr/>
          <p:nvPr/>
        </p:nvSpPr>
        <p:spPr>
          <a:xfrm>
            <a:off x="1627632" y="3959352"/>
            <a:ext cx="530352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800" b="1" dirty="0">
                <a:solidFill>
                  <a:srgbClr val="6373C4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Best of breed</a:t>
            </a:r>
            <a:endParaRPr lang="en-US" sz="1800" dirty="0"/>
          </a:p>
        </p:txBody>
      </p:sp>
      <p:sp>
        <p:nvSpPr>
          <p:cNvPr id="39" name="Text 35"/>
          <p:cNvSpPr/>
          <p:nvPr/>
        </p:nvSpPr>
        <p:spPr>
          <a:xfrm>
            <a:off x="1627632" y="4261104"/>
            <a:ext cx="813816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10" dirty="0">
                <a:solidFill>
                  <a:srgbClr val="5B6675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pecialist depth where S2P platforms fall short — supplier engagement, carbon and risk.</a:t>
            </a:r>
            <a:endParaRPr lang="en-US" sz="1110" dirty="0"/>
          </a:p>
        </p:txBody>
      </p:sp>
      <p:sp>
        <p:nvSpPr>
          <p:cNvPr id="40" name="Shape 36"/>
          <p:cNvSpPr/>
          <p:nvPr/>
        </p:nvSpPr>
        <p:spPr>
          <a:xfrm>
            <a:off x="1627632" y="4535424"/>
            <a:ext cx="1046988" cy="256032"/>
          </a:xfrm>
          <a:prstGeom prst="roundRect">
            <a:avLst>
              <a:gd name="adj" fmla="val 28571"/>
            </a:avLst>
          </a:prstGeom>
          <a:solidFill>
            <a:srgbClr val="6373C4">
              <a:alpha val="94000"/>
            </a:srgbClr>
          </a:solidFill>
          <a:ln w="8890">
            <a:solidFill>
              <a:srgbClr val="6373C4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41" name="Text 37"/>
          <p:cNvSpPr/>
          <p:nvPr/>
        </p:nvSpPr>
        <p:spPr>
          <a:xfrm>
            <a:off x="1682496" y="4572000"/>
            <a:ext cx="937260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Green Project</a:t>
            </a:r>
            <a:endParaRPr lang="en-US" sz="1040" dirty="0"/>
          </a:p>
        </p:txBody>
      </p:sp>
      <p:sp>
        <p:nvSpPr>
          <p:cNvPr id="42" name="Shape 38"/>
          <p:cNvSpPr/>
          <p:nvPr/>
        </p:nvSpPr>
        <p:spPr>
          <a:xfrm>
            <a:off x="2747772" y="4535424"/>
            <a:ext cx="969264" cy="256032"/>
          </a:xfrm>
          <a:prstGeom prst="roundRect">
            <a:avLst>
              <a:gd name="adj" fmla="val 28571"/>
            </a:avLst>
          </a:prstGeom>
          <a:solidFill>
            <a:srgbClr val="6373C4">
              <a:alpha val="94000"/>
            </a:srgbClr>
          </a:solidFill>
          <a:ln w="8890">
            <a:solidFill>
              <a:srgbClr val="6373C4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43" name="Text 39"/>
          <p:cNvSpPr/>
          <p:nvPr/>
        </p:nvSpPr>
        <p:spPr>
          <a:xfrm>
            <a:off x="2802636" y="4572000"/>
            <a:ext cx="859536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EcoVadis</a:t>
            </a:r>
            <a:endParaRPr lang="en-US" sz="1040" dirty="0"/>
          </a:p>
        </p:txBody>
      </p:sp>
      <p:sp>
        <p:nvSpPr>
          <p:cNvPr id="44" name="Shape 40"/>
          <p:cNvSpPr/>
          <p:nvPr/>
        </p:nvSpPr>
        <p:spPr>
          <a:xfrm>
            <a:off x="3790188" y="4535424"/>
            <a:ext cx="736092" cy="256032"/>
          </a:xfrm>
          <a:prstGeom prst="roundRect">
            <a:avLst>
              <a:gd name="adj" fmla="val 28571"/>
            </a:avLst>
          </a:prstGeom>
          <a:solidFill>
            <a:srgbClr val="6373C4">
              <a:alpha val="94000"/>
            </a:srgbClr>
          </a:solidFill>
          <a:ln w="8890">
            <a:solidFill>
              <a:srgbClr val="6373C4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45" name="Text 41"/>
          <p:cNvSpPr/>
          <p:nvPr/>
        </p:nvSpPr>
        <p:spPr>
          <a:xfrm>
            <a:off x="3845052" y="4572000"/>
            <a:ext cx="626364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M2030</a:t>
            </a:r>
            <a:endParaRPr lang="en-US" sz="1040" dirty="0"/>
          </a:p>
        </p:txBody>
      </p:sp>
      <p:sp>
        <p:nvSpPr>
          <p:cNvPr id="46" name="Shape 42"/>
          <p:cNvSpPr/>
          <p:nvPr/>
        </p:nvSpPr>
        <p:spPr>
          <a:xfrm>
            <a:off x="4599432" y="4535424"/>
            <a:ext cx="1046988" cy="256032"/>
          </a:xfrm>
          <a:prstGeom prst="roundRect">
            <a:avLst>
              <a:gd name="adj" fmla="val 28571"/>
            </a:avLst>
          </a:prstGeom>
          <a:solidFill>
            <a:srgbClr val="6373C4">
              <a:alpha val="94000"/>
            </a:srgbClr>
          </a:solidFill>
          <a:ln w="8890">
            <a:solidFill>
              <a:srgbClr val="6373C4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47" name="Text 43"/>
          <p:cNvSpPr/>
          <p:nvPr/>
        </p:nvSpPr>
        <p:spPr>
          <a:xfrm>
            <a:off x="4654296" y="4572000"/>
            <a:ext cx="937260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Watershed</a:t>
            </a:r>
            <a:endParaRPr lang="en-US" sz="1040" dirty="0"/>
          </a:p>
        </p:txBody>
      </p:sp>
      <p:sp>
        <p:nvSpPr>
          <p:cNvPr id="48" name="Shape 44"/>
          <p:cNvSpPr/>
          <p:nvPr/>
        </p:nvSpPr>
        <p:spPr>
          <a:xfrm>
            <a:off x="5719572" y="4535424"/>
            <a:ext cx="1357884" cy="256032"/>
          </a:xfrm>
          <a:prstGeom prst="roundRect">
            <a:avLst>
              <a:gd name="adj" fmla="val 28571"/>
            </a:avLst>
          </a:prstGeom>
          <a:solidFill>
            <a:srgbClr val="6373C4">
              <a:alpha val="94000"/>
            </a:srgbClr>
          </a:solidFill>
          <a:ln w="8890">
            <a:solidFill>
              <a:srgbClr val="6373C4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49" name="Text 45"/>
          <p:cNvSpPr/>
          <p:nvPr/>
        </p:nvSpPr>
        <p:spPr>
          <a:xfrm>
            <a:off x="5774436" y="4572000"/>
            <a:ext cx="1248156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IntegrityNext</a:t>
            </a:r>
            <a:endParaRPr lang="en-US" sz="1040" dirty="0"/>
          </a:p>
        </p:txBody>
      </p:sp>
      <p:sp>
        <p:nvSpPr>
          <p:cNvPr id="50" name="Shape 46"/>
          <p:cNvSpPr/>
          <p:nvPr/>
        </p:nvSpPr>
        <p:spPr>
          <a:xfrm>
            <a:off x="548640" y="4946904"/>
            <a:ext cx="10927080" cy="1005840"/>
          </a:xfrm>
          <a:prstGeom prst="roundRect">
            <a:avLst>
              <a:gd name="adj" fmla="val 12727"/>
            </a:avLst>
          </a:prstGeom>
          <a:solidFill>
            <a:srgbClr val="EAF2FB">
              <a:alpha val="96000"/>
            </a:srgbClr>
          </a:solidFill>
          <a:ln w="13970">
            <a:solidFill>
              <a:srgbClr val="2F80C3">
                <a:alpha val="88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51" name="Text 47"/>
          <p:cNvSpPr/>
          <p:nvPr/>
        </p:nvSpPr>
        <p:spPr>
          <a:xfrm>
            <a:off x="749808" y="5074920"/>
            <a:ext cx="59436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3300" b="1" dirty="0">
                <a:solidFill>
                  <a:srgbClr val="2F80C3">
                    <a:alpha val="65000"/>
                  </a:srgbClr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1</a:t>
            </a:r>
            <a:endParaRPr lang="en-US" sz="3300" dirty="0"/>
          </a:p>
        </p:txBody>
      </p:sp>
      <p:sp>
        <p:nvSpPr>
          <p:cNvPr id="52" name="Text 48"/>
          <p:cNvSpPr/>
          <p:nvPr/>
        </p:nvSpPr>
        <p:spPr>
          <a:xfrm>
            <a:off x="1627632" y="5084064"/>
            <a:ext cx="530352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800" b="1" dirty="0">
                <a:solidFill>
                  <a:srgbClr val="2F80C3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Backbone — source to pay</a:t>
            </a:r>
            <a:endParaRPr lang="en-US" sz="1800" dirty="0"/>
          </a:p>
        </p:txBody>
      </p:sp>
      <p:sp>
        <p:nvSpPr>
          <p:cNvPr id="53" name="Text 49"/>
          <p:cNvSpPr/>
          <p:nvPr/>
        </p:nvSpPr>
        <p:spPr>
          <a:xfrm>
            <a:off x="1627632" y="5385816"/>
            <a:ext cx="813816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10" dirty="0">
                <a:solidFill>
                  <a:srgbClr val="5B6675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Transactional core: requisitions, POs, invoices and contracts — necessary but not sufficient.</a:t>
            </a:r>
            <a:endParaRPr lang="en-US" sz="1110" dirty="0"/>
          </a:p>
        </p:txBody>
      </p:sp>
      <p:sp>
        <p:nvSpPr>
          <p:cNvPr id="54" name="Shape 50"/>
          <p:cNvSpPr/>
          <p:nvPr/>
        </p:nvSpPr>
        <p:spPr>
          <a:xfrm>
            <a:off x="1627632" y="5660136"/>
            <a:ext cx="1046988" cy="256032"/>
          </a:xfrm>
          <a:prstGeom prst="roundRect">
            <a:avLst>
              <a:gd name="adj" fmla="val 28571"/>
            </a:avLst>
          </a:prstGeom>
          <a:solidFill>
            <a:srgbClr val="2F80C3">
              <a:alpha val="94000"/>
            </a:srgbClr>
          </a:solidFill>
          <a:ln w="8890">
            <a:solidFill>
              <a:srgbClr val="2F80C3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55" name="Text 51"/>
          <p:cNvSpPr/>
          <p:nvPr/>
        </p:nvSpPr>
        <p:spPr>
          <a:xfrm>
            <a:off x="1682496" y="5696712"/>
            <a:ext cx="937260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AP Ariba</a:t>
            </a:r>
            <a:endParaRPr lang="en-US" sz="1040" dirty="0"/>
          </a:p>
        </p:txBody>
      </p:sp>
      <p:sp>
        <p:nvSpPr>
          <p:cNvPr id="56" name="Shape 52"/>
          <p:cNvSpPr/>
          <p:nvPr/>
        </p:nvSpPr>
        <p:spPr>
          <a:xfrm>
            <a:off x="2747772" y="5660136"/>
            <a:ext cx="736092" cy="256032"/>
          </a:xfrm>
          <a:prstGeom prst="roundRect">
            <a:avLst>
              <a:gd name="adj" fmla="val 28571"/>
            </a:avLst>
          </a:prstGeom>
          <a:solidFill>
            <a:srgbClr val="2F80C3">
              <a:alpha val="94000"/>
            </a:srgbClr>
          </a:solidFill>
          <a:ln w="8890">
            <a:solidFill>
              <a:srgbClr val="2F80C3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57" name="Text 53"/>
          <p:cNvSpPr/>
          <p:nvPr/>
        </p:nvSpPr>
        <p:spPr>
          <a:xfrm>
            <a:off x="2802636" y="5696712"/>
            <a:ext cx="626364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oupa</a:t>
            </a:r>
            <a:endParaRPr lang="en-US" sz="1040" dirty="0"/>
          </a:p>
        </p:txBody>
      </p:sp>
      <p:sp>
        <p:nvSpPr>
          <p:cNvPr id="58" name="Shape 54"/>
          <p:cNvSpPr/>
          <p:nvPr/>
        </p:nvSpPr>
        <p:spPr>
          <a:xfrm>
            <a:off x="3557016" y="5660136"/>
            <a:ext cx="594360" cy="256032"/>
          </a:xfrm>
          <a:prstGeom prst="roundRect">
            <a:avLst>
              <a:gd name="adj" fmla="val 28571"/>
            </a:avLst>
          </a:prstGeom>
          <a:solidFill>
            <a:srgbClr val="2F80C3">
              <a:alpha val="94000"/>
            </a:srgbClr>
          </a:solidFill>
          <a:ln w="8890">
            <a:solidFill>
              <a:srgbClr val="2F80C3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59" name="Text 55"/>
          <p:cNvSpPr/>
          <p:nvPr/>
        </p:nvSpPr>
        <p:spPr>
          <a:xfrm>
            <a:off x="3611880" y="5696712"/>
            <a:ext cx="48463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GEP</a:t>
            </a:r>
            <a:endParaRPr lang="en-US" sz="1040" dirty="0"/>
          </a:p>
        </p:txBody>
      </p:sp>
      <p:sp>
        <p:nvSpPr>
          <p:cNvPr id="60" name="Shape 56"/>
          <p:cNvSpPr/>
          <p:nvPr/>
        </p:nvSpPr>
        <p:spPr>
          <a:xfrm>
            <a:off x="4224528" y="5660136"/>
            <a:ext cx="891540" cy="256032"/>
          </a:xfrm>
          <a:prstGeom prst="roundRect">
            <a:avLst>
              <a:gd name="adj" fmla="val 28571"/>
            </a:avLst>
          </a:prstGeom>
          <a:solidFill>
            <a:srgbClr val="2F80C3">
              <a:alpha val="94000"/>
            </a:srgbClr>
          </a:solidFill>
          <a:ln w="8890">
            <a:solidFill>
              <a:srgbClr val="2F80C3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61" name="Text 57"/>
          <p:cNvSpPr/>
          <p:nvPr/>
        </p:nvSpPr>
        <p:spPr>
          <a:xfrm>
            <a:off x="4279392" y="5696712"/>
            <a:ext cx="781812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Jaggaer</a:t>
            </a:r>
            <a:endParaRPr lang="en-US" sz="1040" dirty="0"/>
          </a:p>
        </p:txBody>
      </p:sp>
      <p:sp>
        <p:nvSpPr>
          <p:cNvPr id="62" name="Shape 58"/>
          <p:cNvSpPr/>
          <p:nvPr/>
        </p:nvSpPr>
        <p:spPr>
          <a:xfrm>
            <a:off x="5189220" y="5660136"/>
            <a:ext cx="813816" cy="256032"/>
          </a:xfrm>
          <a:prstGeom prst="roundRect">
            <a:avLst>
              <a:gd name="adj" fmla="val 28571"/>
            </a:avLst>
          </a:prstGeom>
          <a:solidFill>
            <a:srgbClr val="2F80C3">
              <a:alpha val="94000"/>
            </a:srgbClr>
          </a:solidFill>
          <a:ln w="8890">
            <a:solidFill>
              <a:srgbClr val="2F80C3">
                <a:alpha val="35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63" name="Text 59"/>
          <p:cNvSpPr/>
          <p:nvPr/>
        </p:nvSpPr>
        <p:spPr>
          <a:xfrm>
            <a:off x="5244084" y="5696712"/>
            <a:ext cx="704088" cy="21031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Ivalua</a:t>
            </a:r>
            <a:endParaRPr lang="en-US" sz="1040" dirty="0"/>
          </a:p>
        </p:txBody>
      </p:sp>
      <p:sp>
        <p:nvSpPr>
          <p:cNvPr id="64" name="Shape 60"/>
          <p:cNvSpPr/>
          <p:nvPr/>
        </p:nvSpPr>
        <p:spPr>
          <a:xfrm>
            <a:off x="502920" y="6067851"/>
            <a:ext cx="10954512" cy="365760"/>
          </a:xfrm>
          <a:prstGeom prst="rect">
            <a:avLst/>
          </a:prstGeom>
          <a:solidFill>
            <a:srgbClr val="DCE6F2"/>
          </a:solidFill>
          <a:ln w="12700">
            <a:solidFill>
              <a:srgbClr val="DCE6F2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65" name="Shape 61"/>
          <p:cNvSpPr/>
          <p:nvPr/>
        </p:nvSpPr>
        <p:spPr>
          <a:xfrm>
            <a:off x="502920" y="6067851"/>
            <a:ext cx="88916" cy="365760"/>
          </a:xfrm>
          <a:prstGeom prst="rect">
            <a:avLst/>
          </a:prstGeom>
          <a:solidFill>
            <a:srgbClr val="2CA36B"/>
          </a:solidFill>
          <a:ln w="12700">
            <a:solidFill>
              <a:srgbClr val="2CA36B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66" name="Text 62"/>
          <p:cNvSpPr/>
          <p:nvPr/>
        </p:nvSpPr>
        <p:spPr>
          <a:xfrm>
            <a:off x="667512" y="6181344"/>
            <a:ext cx="1078992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223A59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The winning architecture is not one monolith. It is a governed stack.</a:t>
            </a:r>
            <a:endParaRPr lang="en-US" sz="160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1"/>
          <p:cNvSpPr/>
          <p:nvPr/>
        </p:nvSpPr>
        <p:spPr>
          <a:xfrm>
            <a:off x="502920" y="420624"/>
            <a:ext cx="932688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550" b="1" dirty="0">
                <a:solidFill>
                  <a:srgbClr val="1F2937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03. Get ready: AI for me first, process redesign next</a:t>
            </a:r>
            <a:endParaRPr lang="en-US" sz="2550" dirty="0"/>
          </a:p>
        </p:txBody>
      </p:sp>
      <p:sp>
        <p:nvSpPr>
          <p:cNvPr id="6" name="Text 2"/>
          <p:cNvSpPr/>
          <p:nvPr/>
        </p:nvSpPr>
        <p:spPr>
          <a:xfrm>
            <a:off x="502920" y="850392"/>
            <a:ext cx="1060704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50" dirty="0">
                <a:solidFill>
                  <a:srgbClr val="5B6675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tart with personal AI use. Then partial or full process replacement becomes a smaller change-management move.</a:t>
            </a:r>
            <a:endParaRPr lang="en-US" sz="1450" dirty="0"/>
          </a:p>
        </p:txBody>
      </p:sp>
      <p:pic>
        <p:nvPicPr>
          <p:cNvPr id="7" name="Image 2" descr="/mnt/data/extract_current/ppt/media/image-3-3.jpg"/>
          <p:cNvPicPr>
            <a:picLocks noChangeAspect="1"/>
          </p:cNvPicPr>
          <p:nvPr/>
        </p:nvPicPr>
        <p:blipFill>
          <a:blip r:embed="rId3"/>
          <a:srcRect l="32195" r="32195"/>
          <a:stretch/>
        </p:blipFill>
        <p:spPr>
          <a:xfrm>
            <a:off x="502920" y="1298448"/>
            <a:ext cx="3584448" cy="4718304"/>
          </a:xfrm>
          <a:prstGeom prst="rect">
            <a:avLst/>
          </a:prstGeom>
        </p:spPr>
      </p:pic>
      <p:sp>
        <p:nvSpPr>
          <p:cNvPr id="8" name="Shape 3"/>
          <p:cNvSpPr/>
          <p:nvPr/>
        </p:nvSpPr>
        <p:spPr>
          <a:xfrm>
            <a:off x="502920" y="1298448"/>
            <a:ext cx="3584448" cy="4718304"/>
          </a:xfrm>
          <a:prstGeom prst="rect">
            <a:avLst/>
          </a:prstGeom>
          <a:solidFill>
            <a:srgbClr val="000000">
              <a:alpha val="55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9" name="Shape 4"/>
          <p:cNvSpPr/>
          <p:nvPr/>
        </p:nvSpPr>
        <p:spPr>
          <a:xfrm>
            <a:off x="502920" y="1298448"/>
            <a:ext cx="3584448" cy="100584"/>
          </a:xfrm>
          <a:prstGeom prst="rect">
            <a:avLst/>
          </a:prstGeom>
          <a:solidFill>
            <a:srgbClr val="1B75BC"/>
          </a:solidFill>
          <a:ln/>
        </p:spPr>
        <p:txBody>
          <a:bodyPr/>
          <a:lstStyle/>
          <a:p>
            <a:endParaRPr lang="en-NZ"/>
          </a:p>
        </p:txBody>
      </p:sp>
      <p:pic>
        <p:nvPicPr>
          <p:cNvPr id="10" name="Image 3" descr="/mnt/data/extract_current/ppt/media/image-3-9.jpg"/>
          <p:cNvPicPr>
            <a:picLocks noChangeAspect="1"/>
          </p:cNvPicPr>
          <p:nvPr/>
        </p:nvPicPr>
        <p:blipFill>
          <a:blip r:embed="rId4"/>
          <a:srcRect l="29488" r="29488"/>
          <a:stretch/>
        </p:blipFill>
        <p:spPr>
          <a:xfrm>
            <a:off x="4160520" y="1298448"/>
            <a:ext cx="3584448" cy="4718304"/>
          </a:xfrm>
          <a:prstGeom prst="rect">
            <a:avLst/>
          </a:prstGeom>
        </p:spPr>
      </p:pic>
      <p:sp>
        <p:nvSpPr>
          <p:cNvPr id="11" name="Shape 5"/>
          <p:cNvSpPr/>
          <p:nvPr/>
        </p:nvSpPr>
        <p:spPr>
          <a:xfrm>
            <a:off x="4160520" y="1298448"/>
            <a:ext cx="3584448" cy="4718304"/>
          </a:xfrm>
          <a:prstGeom prst="rect">
            <a:avLst/>
          </a:prstGeom>
          <a:solidFill>
            <a:srgbClr val="000000">
              <a:alpha val="55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12" name="Shape 6"/>
          <p:cNvSpPr/>
          <p:nvPr/>
        </p:nvSpPr>
        <p:spPr>
          <a:xfrm>
            <a:off x="4160520" y="1298448"/>
            <a:ext cx="3584448" cy="100584"/>
          </a:xfrm>
          <a:prstGeom prst="rect">
            <a:avLst/>
          </a:prstGeom>
          <a:solidFill>
            <a:srgbClr val="2CA36B"/>
          </a:solidFill>
          <a:ln/>
        </p:spPr>
        <p:txBody>
          <a:bodyPr/>
          <a:lstStyle/>
          <a:p>
            <a:endParaRPr lang="en-NZ"/>
          </a:p>
        </p:txBody>
      </p:sp>
      <p:pic>
        <p:nvPicPr>
          <p:cNvPr id="13" name="Image 4" descr="/mnt/data/extract_current/ppt/media/image-3-10.jpg"/>
          <p:cNvPicPr>
            <a:picLocks noChangeAspect="1"/>
          </p:cNvPicPr>
          <p:nvPr/>
        </p:nvPicPr>
        <p:blipFill>
          <a:blip r:embed="rId5"/>
          <a:srcRect l="28573" r="28573"/>
          <a:stretch/>
        </p:blipFill>
        <p:spPr>
          <a:xfrm>
            <a:off x="7818120" y="1298448"/>
            <a:ext cx="3593592" cy="4718304"/>
          </a:xfrm>
          <a:prstGeom prst="rect">
            <a:avLst/>
          </a:prstGeom>
        </p:spPr>
      </p:pic>
      <p:sp>
        <p:nvSpPr>
          <p:cNvPr id="14" name="Shape 7"/>
          <p:cNvSpPr/>
          <p:nvPr/>
        </p:nvSpPr>
        <p:spPr>
          <a:xfrm>
            <a:off x="7818120" y="1298448"/>
            <a:ext cx="3593592" cy="4718304"/>
          </a:xfrm>
          <a:prstGeom prst="rect">
            <a:avLst/>
          </a:prstGeom>
          <a:solidFill>
            <a:srgbClr val="000000">
              <a:alpha val="55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15" name="Shape 8"/>
          <p:cNvSpPr/>
          <p:nvPr/>
        </p:nvSpPr>
        <p:spPr>
          <a:xfrm>
            <a:off x="7818120" y="1298448"/>
            <a:ext cx="3593592" cy="100584"/>
          </a:xfrm>
          <a:prstGeom prst="rect">
            <a:avLst/>
          </a:prstGeom>
          <a:solidFill>
            <a:srgbClr val="F0A014"/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16" name="Text 9"/>
          <p:cNvSpPr/>
          <p:nvPr/>
        </p:nvSpPr>
        <p:spPr>
          <a:xfrm>
            <a:off x="667512" y="1591056"/>
            <a:ext cx="3255264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72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tep 1 — AI as a tool</a:t>
            </a:r>
            <a:endParaRPr lang="en-US" sz="1720" dirty="0"/>
          </a:p>
        </p:txBody>
      </p:sp>
      <p:sp>
        <p:nvSpPr>
          <p:cNvPr id="17" name="Text 10"/>
          <p:cNvSpPr/>
          <p:nvPr/>
        </p:nvSpPr>
        <p:spPr>
          <a:xfrm>
            <a:off x="667512" y="1993392"/>
            <a:ext cx="3255264" cy="310896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 lnSpcReduction="10000"/>
          </a:bodyPr>
          <a:lstStyle/>
          <a:p>
            <a:pPr marL="0" indent="0">
              <a:buNone/>
            </a:pPr>
            <a:r>
              <a:rPr lang="en-US" sz="106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Build habit and trust by helping people with the work they already own.</a:t>
            </a:r>
            <a:endParaRPr lang="en-US" sz="1060" dirty="0"/>
          </a:p>
        </p:txBody>
      </p:sp>
      <p:sp>
        <p:nvSpPr>
          <p:cNvPr id="18" name="Shape 11"/>
          <p:cNvSpPr/>
          <p:nvPr/>
        </p:nvSpPr>
        <p:spPr>
          <a:xfrm>
            <a:off x="795528" y="2534920"/>
            <a:ext cx="713232" cy="713232"/>
          </a:xfrm>
          <a:prstGeom prst="roundRect">
            <a:avLst>
              <a:gd name="adj" fmla="val 10256"/>
            </a:avLst>
          </a:prstGeom>
          <a:solidFill>
            <a:srgbClr val="FFFFFF">
              <a:alpha val="88000"/>
            </a:srgbClr>
          </a:solidFill>
          <a:ln w="12700">
            <a:solidFill>
              <a:srgbClr val="FFFFFF">
                <a:alpha val="10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19" name="Shape 12"/>
          <p:cNvSpPr/>
          <p:nvPr/>
        </p:nvSpPr>
        <p:spPr>
          <a:xfrm>
            <a:off x="950976" y="2662936"/>
            <a:ext cx="402336" cy="402336"/>
          </a:xfrm>
          <a:prstGeom prst="rect">
            <a:avLst/>
          </a:prstGeom>
          <a:solidFill>
            <a:srgbClr val="EFF1F3">
              <a:alpha val="95000"/>
            </a:srgbClr>
          </a:solidFill>
          <a:ln/>
        </p:spPr>
        <p:txBody>
          <a:bodyPr/>
          <a:lstStyle/>
          <a:p>
            <a:endParaRPr lang="en-NZ"/>
          </a:p>
        </p:txBody>
      </p:sp>
      <p:pic>
        <p:nvPicPr>
          <p:cNvPr id="20" name="Image 5" descr="/mnt/data/extract_current/ppt/media/image-3-4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5714" y="2699512"/>
            <a:ext cx="312861" cy="329184"/>
          </a:xfrm>
          <a:prstGeom prst="rect">
            <a:avLst/>
          </a:prstGeom>
        </p:spPr>
      </p:pic>
      <p:sp>
        <p:nvSpPr>
          <p:cNvPr id="21" name="Text 13"/>
          <p:cNvSpPr/>
          <p:nvPr/>
        </p:nvSpPr>
        <p:spPr>
          <a:xfrm>
            <a:off x="722376" y="3339592"/>
            <a:ext cx="859536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97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Ari</a:t>
            </a:r>
            <a:endParaRPr lang="en-US" sz="970" dirty="0"/>
          </a:p>
        </p:txBody>
      </p:sp>
      <p:sp>
        <p:nvSpPr>
          <p:cNvPr id="22" name="Shape 14"/>
          <p:cNvSpPr/>
          <p:nvPr/>
        </p:nvSpPr>
        <p:spPr>
          <a:xfrm>
            <a:off x="1965960" y="2534920"/>
            <a:ext cx="713232" cy="713232"/>
          </a:xfrm>
          <a:prstGeom prst="roundRect">
            <a:avLst>
              <a:gd name="adj" fmla="val 10256"/>
            </a:avLst>
          </a:prstGeom>
          <a:solidFill>
            <a:srgbClr val="FFFFFF">
              <a:alpha val="88000"/>
            </a:srgbClr>
          </a:solidFill>
          <a:ln w="12700">
            <a:solidFill>
              <a:srgbClr val="FFFFFF">
                <a:alpha val="10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23" name="Shape 15"/>
          <p:cNvSpPr/>
          <p:nvPr/>
        </p:nvSpPr>
        <p:spPr>
          <a:xfrm>
            <a:off x="2121408" y="2662936"/>
            <a:ext cx="402336" cy="402336"/>
          </a:xfrm>
          <a:prstGeom prst="rect">
            <a:avLst/>
          </a:prstGeom>
          <a:solidFill>
            <a:srgbClr val="EFF1F3">
              <a:alpha val="95000"/>
            </a:srgbClr>
          </a:solidFill>
          <a:ln/>
        </p:spPr>
        <p:txBody>
          <a:bodyPr/>
          <a:lstStyle/>
          <a:p>
            <a:endParaRPr lang="en-NZ"/>
          </a:p>
        </p:txBody>
      </p:sp>
      <p:pic>
        <p:nvPicPr>
          <p:cNvPr id="24" name="Image 6" descr="/mnt/data/extract_current/ppt/media/image-3-5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67242" y="2699512"/>
            <a:ext cx="310667" cy="329184"/>
          </a:xfrm>
          <a:prstGeom prst="rect">
            <a:avLst/>
          </a:prstGeom>
        </p:spPr>
      </p:pic>
      <p:sp>
        <p:nvSpPr>
          <p:cNvPr id="25" name="Text 16"/>
          <p:cNvSpPr/>
          <p:nvPr/>
        </p:nvSpPr>
        <p:spPr>
          <a:xfrm>
            <a:off x="1892808" y="3339592"/>
            <a:ext cx="859536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97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ara</a:t>
            </a:r>
            <a:endParaRPr lang="en-US" sz="970" dirty="0"/>
          </a:p>
        </p:txBody>
      </p:sp>
      <p:sp>
        <p:nvSpPr>
          <p:cNvPr id="26" name="Shape 17"/>
          <p:cNvSpPr/>
          <p:nvPr/>
        </p:nvSpPr>
        <p:spPr>
          <a:xfrm>
            <a:off x="3136392" y="2534920"/>
            <a:ext cx="713232" cy="713232"/>
          </a:xfrm>
          <a:prstGeom prst="roundRect">
            <a:avLst>
              <a:gd name="adj" fmla="val 10256"/>
            </a:avLst>
          </a:prstGeom>
          <a:solidFill>
            <a:srgbClr val="FFFFFF">
              <a:alpha val="88000"/>
            </a:srgbClr>
          </a:solidFill>
          <a:ln w="12700">
            <a:solidFill>
              <a:srgbClr val="FFFFFF">
                <a:alpha val="10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27" name="Shape 18"/>
          <p:cNvSpPr/>
          <p:nvPr/>
        </p:nvSpPr>
        <p:spPr>
          <a:xfrm>
            <a:off x="3291840" y="2662936"/>
            <a:ext cx="402336" cy="402336"/>
          </a:xfrm>
          <a:prstGeom prst="rect">
            <a:avLst/>
          </a:prstGeom>
          <a:solidFill>
            <a:srgbClr val="EFF1F3">
              <a:alpha val="95000"/>
            </a:srgbClr>
          </a:solidFill>
          <a:ln/>
        </p:spPr>
        <p:txBody>
          <a:bodyPr/>
          <a:lstStyle/>
          <a:p>
            <a:endParaRPr lang="en-NZ"/>
          </a:p>
        </p:txBody>
      </p:sp>
      <p:pic>
        <p:nvPicPr>
          <p:cNvPr id="28" name="Image 7" descr="/mnt/data/extract_current/ppt/media/image-3-6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28416" y="2740111"/>
            <a:ext cx="329184" cy="247985"/>
          </a:xfrm>
          <a:prstGeom prst="rect">
            <a:avLst/>
          </a:prstGeom>
        </p:spPr>
      </p:pic>
      <p:sp>
        <p:nvSpPr>
          <p:cNvPr id="29" name="Text 19"/>
          <p:cNvSpPr/>
          <p:nvPr/>
        </p:nvSpPr>
        <p:spPr>
          <a:xfrm>
            <a:off x="3063240" y="3339592"/>
            <a:ext cx="859536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 lnSpcReduction="10000"/>
          </a:bodyPr>
          <a:lstStyle/>
          <a:p>
            <a:pPr marL="0" indent="0" algn="ctr">
              <a:buNone/>
            </a:pPr>
            <a:r>
              <a:rPr lang="en-US" sz="97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ategory</a:t>
            </a:r>
            <a:endParaRPr lang="en-US" sz="970" dirty="0"/>
          </a:p>
          <a:p>
            <a:pPr marL="0" indent="0" algn="ctr">
              <a:buNone/>
            </a:pPr>
            <a:r>
              <a:rPr lang="en-US" sz="97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Manager</a:t>
            </a:r>
            <a:endParaRPr lang="en-US" sz="970" dirty="0"/>
          </a:p>
        </p:txBody>
      </p:sp>
      <p:sp>
        <p:nvSpPr>
          <p:cNvPr id="30" name="Shape 20"/>
          <p:cNvSpPr/>
          <p:nvPr/>
        </p:nvSpPr>
        <p:spPr>
          <a:xfrm>
            <a:off x="1380744" y="3694176"/>
            <a:ext cx="713232" cy="713232"/>
          </a:xfrm>
          <a:prstGeom prst="roundRect">
            <a:avLst>
              <a:gd name="adj" fmla="val 10256"/>
            </a:avLst>
          </a:prstGeom>
          <a:solidFill>
            <a:srgbClr val="FFFFFF">
              <a:alpha val="88000"/>
            </a:srgbClr>
          </a:solidFill>
          <a:ln w="12700">
            <a:solidFill>
              <a:srgbClr val="FFFFFF">
                <a:alpha val="10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31" name="Shape 21"/>
          <p:cNvSpPr/>
          <p:nvPr/>
        </p:nvSpPr>
        <p:spPr>
          <a:xfrm>
            <a:off x="1536192" y="3822192"/>
            <a:ext cx="402336" cy="402336"/>
          </a:xfrm>
          <a:prstGeom prst="rect">
            <a:avLst/>
          </a:prstGeom>
          <a:solidFill>
            <a:srgbClr val="EFF1F3">
              <a:alpha val="95000"/>
            </a:srgbClr>
          </a:solidFill>
          <a:ln/>
        </p:spPr>
        <p:txBody>
          <a:bodyPr/>
          <a:lstStyle/>
          <a:p>
            <a:endParaRPr lang="en-NZ"/>
          </a:p>
        </p:txBody>
      </p:sp>
      <p:pic>
        <p:nvPicPr>
          <p:cNvPr id="32" name="Image 8" descr="/mnt/data/extract_current/ppt/media/image-3-7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72768" y="3865432"/>
            <a:ext cx="329184" cy="315857"/>
          </a:xfrm>
          <a:prstGeom prst="rect">
            <a:avLst/>
          </a:prstGeom>
        </p:spPr>
      </p:pic>
      <p:sp>
        <p:nvSpPr>
          <p:cNvPr id="33" name="Text 22"/>
          <p:cNvSpPr/>
          <p:nvPr/>
        </p:nvSpPr>
        <p:spPr>
          <a:xfrm>
            <a:off x="1307592" y="4498848"/>
            <a:ext cx="859536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 lnSpcReduction="10000"/>
          </a:bodyPr>
          <a:lstStyle/>
          <a:p>
            <a:pPr marL="0" indent="0" algn="ctr">
              <a:buNone/>
            </a:pPr>
            <a:r>
              <a:rPr lang="en-US" sz="97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Research</a:t>
            </a:r>
            <a:endParaRPr lang="en-US" sz="970" dirty="0"/>
          </a:p>
          <a:p>
            <a:pPr marL="0" indent="0" algn="ctr">
              <a:buNone/>
            </a:pPr>
            <a:r>
              <a:rPr lang="en-US" sz="97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Copilot</a:t>
            </a:r>
            <a:endParaRPr lang="en-US" sz="970" dirty="0"/>
          </a:p>
        </p:txBody>
      </p:sp>
      <p:sp>
        <p:nvSpPr>
          <p:cNvPr id="34" name="Shape 23"/>
          <p:cNvSpPr/>
          <p:nvPr/>
        </p:nvSpPr>
        <p:spPr>
          <a:xfrm>
            <a:off x="2551176" y="3694176"/>
            <a:ext cx="713232" cy="713232"/>
          </a:xfrm>
          <a:prstGeom prst="roundRect">
            <a:avLst>
              <a:gd name="adj" fmla="val 10256"/>
            </a:avLst>
          </a:prstGeom>
          <a:solidFill>
            <a:srgbClr val="FFFFFF">
              <a:alpha val="88000"/>
            </a:srgbClr>
          </a:solidFill>
          <a:ln w="12700">
            <a:solidFill>
              <a:srgbClr val="FFFFFF">
                <a:alpha val="10000"/>
              </a:srgbClr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35" name="Shape 24"/>
          <p:cNvSpPr/>
          <p:nvPr/>
        </p:nvSpPr>
        <p:spPr>
          <a:xfrm>
            <a:off x="2706624" y="3822192"/>
            <a:ext cx="402336" cy="402336"/>
          </a:xfrm>
          <a:prstGeom prst="rect">
            <a:avLst/>
          </a:prstGeom>
          <a:solidFill>
            <a:srgbClr val="EFF1F3">
              <a:alpha val="95000"/>
            </a:srgbClr>
          </a:solidFill>
          <a:ln/>
        </p:spPr>
        <p:txBody>
          <a:bodyPr/>
          <a:lstStyle/>
          <a:p>
            <a:endParaRPr lang="en-NZ"/>
          </a:p>
        </p:txBody>
      </p:sp>
      <p:pic>
        <p:nvPicPr>
          <p:cNvPr id="36" name="Image 9" descr="/mnt/data/extract_current/ppt/media/image-3-8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53986" y="3858768"/>
            <a:ext cx="307611" cy="329184"/>
          </a:xfrm>
          <a:prstGeom prst="rect">
            <a:avLst/>
          </a:prstGeom>
        </p:spPr>
      </p:pic>
      <p:sp>
        <p:nvSpPr>
          <p:cNvPr id="37" name="Text 25"/>
          <p:cNvSpPr/>
          <p:nvPr/>
        </p:nvSpPr>
        <p:spPr>
          <a:xfrm>
            <a:off x="2478024" y="4498848"/>
            <a:ext cx="859536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97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Analyst</a:t>
            </a:r>
            <a:endParaRPr lang="en-US" sz="970" dirty="0"/>
          </a:p>
        </p:txBody>
      </p:sp>
      <p:sp>
        <p:nvSpPr>
          <p:cNvPr id="38" name="Text 26"/>
          <p:cNvSpPr/>
          <p:nvPr/>
        </p:nvSpPr>
        <p:spPr>
          <a:xfrm>
            <a:off x="1069848" y="5010912"/>
            <a:ext cx="2450592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9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Task-focused copilots and agents for the</a:t>
            </a:r>
            <a:endParaRPr lang="en-US" sz="940" dirty="0"/>
          </a:p>
          <a:p>
            <a:pPr marL="0" indent="0" algn="ctr">
              <a:buNone/>
            </a:pPr>
            <a:r>
              <a:rPr lang="en-US" sz="9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work people do today.</a:t>
            </a:r>
            <a:endParaRPr lang="en-US" sz="940" dirty="0"/>
          </a:p>
        </p:txBody>
      </p:sp>
      <p:sp>
        <p:nvSpPr>
          <p:cNvPr id="39" name="Text 27"/>
          <p:cNvSpPr/>
          <p:nvPr/>
        </p:nvSpPr>
        <p:spPr>
          <a:xfrm>
            <a:off x="667512" y="5559552"/>
            <a:ext cx="3255264" cy="16459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860" i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tart with the person, not the process</a:t>
            </a:r>
            <a:endParaRPr lang="en-US" sz="860" dirty="0"/>
          </a:p>
        </p:txBody>
      </p:sp>
      <p:sp>
        <p:nvSpPr>
          <p:cNvPr id="40" name="Text 28"/>
          <p:cNvSpPr/>
          <p:nvPr/>
        </p:nvSpPr>
        <p:spPr>
          <a:xfrm>
            <a:off x="4325112" y="1591056"/>
            <a:ext cx="3255264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68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Step 2 — AI in the process</a:t>
            </a:r>
            <a:endParaRPr lang="en-US" sz="1680" dirty="0"/>
          </a:p>
        </p:txBody>
      </p:sp>
      <p:sp>
        <p:nvSpPr>
          <p:cNvPr id="41" name="Text 29"/>
          <p:cNvSpPr/>
          <p:nvPr/>
        </p:nvSpPr>
        <p:spPr>
          <a:xfrm>
            <a:off x="4325112" y="1993392"/>
            <a:ext cx="3255264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04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Partial or full process substitution feels incremental once AI is already normal in the day job.</a:t>
            </a:r>
            <a:endParaRPr lang="en-US" sz="1040" dirty="0"/>
          </a:p>
        </p:txBody>
      </p:sp>
      <p:sp>
        <p:nvSpPr>
          <p:cNvPr id="42" name="Shape 30"/>
          <p:cNvSpPr/>
          <p:nvPr/>
        </p:nvSpPr>
        <p:spPr>
          <a:xfrm>
            <a:off x="4672584" y="2505456"/>
            <a:ext cx="2578608" cy="365760"/>
          </a:xfrm>
          <a:prstGeom prst="roundRect">
            <a:avLst>
              <a:gd name="adj" fmla="val 15000"/>
            </a:avLst>
          </a:prstGeom>
          <a:solidFill>
            <a:srgbClr val="102A43">
              <a:alpha val="92000"/>
            </a:srgbClr>
          </a:solidFill>
          <a:ln w="12700">
            <a:solidFill>
              <a:srgbClr val="2F80C3">
                <a:alpha val="55000"/>
              </a:srgbClr>
            </a:solidFill>
            <a:prstDash val="solid"/>
          </a:ln>
          <a:effectLst>
            <a:outerShdw blurRad="19050" dist="571500" dir="2700000" algn="bl" rotWithShape="0">
              <a:srgbClr val="000000">
                <a:alpha val="12000"/>
              </a:srgbClr>
            </a:outerShdw>
          </a:effectLst>
        </p:spPr>
        <p:txBody>
          <a:bodyPr/>
          <a:lstStyle/>
          <a:p>
            <a:endParaRPr lang="en-NZ"/>
          </a:p>
        </p:txBody>
      </p:sp>
      <p:sp>
        <p:nvSpPr>
          <p:cNvPr id="43" name="Text 31"/>
          <p:cNvSpPr/>
          <p:nvPr/>
        </p:nvSpPr>
        <p:spPr>
          <a:xfrm>
            <a:off x="4672584" y="2551176"/>
            <a:ext cx="2578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Intake</a:t>
            </a:r>
            <a:endParaRPr lang="en-US" sz="1200" dirty="0"/>
          </a:p>
        </p:txBody>
      </p:sp>
      <p:sp>
        <p:nvSpPr>
          <p:cNvPr id="44" name="Shape 32"/>
          <p:cNvSpPr/>
          <p:nvPr/>
        </p:nvSpPr>
        <p:spPr>
          <a:xfrm>
            <a:off x="5950915" y="2871216"/>
            <a:ext cx="21946" cy="246888"/>
          </a:xfrm>
          <a:prstGeom prst="rect">
            <a:avLst/>
          </a:prstGeom>
          <a:solidFill>
            <a:srgbClr val="FFFFFF">
              <a:alpha val="85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45" name="Shape 33"/>
          <p:cNvSpPr/>
          <p:nvPr/>
        </p:nvSpPr>
        <p:spPr>
          <a:xfrm rot="5400000">
            <a:off x="5916168" y="3081528"/>
            <a:ext cx="91440" cy="73152"/>
          </a:xfrm>
          <a:prstGeom prst="chevron">
            <a:avLst/>
          </a:prstGeom>
          <a:solidFill>
            <a:srgbClr val="FFFFFF">
              <a:alpha val="88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46" name="Shape 34"/>
          <p:cNvSpPr/>
          <p:nvPr/>
        </p:nvSpPr>
        <p:spPr>
          <a:xfrm>
            <a:off x="4672584" y="3172968"/>
            <a:ext cx="2578608" cy="365760"/>
          </a:xfrm>
          <a:prstGeom prst="roundRect">
            <a:avLst>
              <a:gd name="adj" fmla="val 15000"/>
            </a:avLst>
          </a:prstGeom>
          <a:solidFill>
            <a:srgbClr val="102A43">
              <a:alpha val="92000"/>
            </a:srgbClr>
          </a:solidFill>
          <a:ln w="12700">
            <a:solidFill>
              <a:srgbClr val="2F80C3">
                <a:alpha val="55000"/>
              </a:srgbClr>
            </a:solidFill>
            <a:prstDash val="solid"/>
          </a:ln>
          <a:effectLst>
            <a:outerShdw blurRad="19050" dist="571500" dir="2700000" algn="bl" rotWithShape="0">
              <a:srgbClr val="000000">
                <a:alpha val="12000"/>
              </a:srgbClr>
            </a:outerShdw>
          </a:effectLst>
        </p:spPr>
        <p:txBody>
          <a:bodyPr/>
          <a:lstStyle/>
          <a:p>
            <a:endParaRPr lang="en-NZ"/>
          </a:p>
        </p:txBody>
      </p:sp>
      <p:sp>
        <p:nvSpPr>
          <p:cNvPr id="47" name="Text 35"/>
          <p:cNvSpPr/>
          <p:nvPr/>
        </p:nvSpPr>
        <p:spPr>
          <a:xfrm>
            <a:off x="4672584" y="3218688"/>
            <a:ext cx="2578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Route to agent</a:t>
            </a:r>
            <a:endParaRPr lang="en-US" sz="1200" dirty="0"/>
          </a:p>
        </p:txBody>
      </p:sp>
      <p:sp>
        <p:nvSpPr>
          <p:cNvPr id="48" name="Shape 36"/>
          <p:cNvSpPr/>
          <p:nvPr/>
        </p:nvSpPr>
        <p:spPr>
          <a:xfrm>
            <a:off x="5950915" y="3538728"/>
            <a:ext cx="21946" cy="246888"/>
          </a:xfrm>
          <a:prstGeom prst="rect">
            <a:avLst/>
          </a:prstGeom>
          <a:solidFill>
            <a:srgbClr val="FFFFFF">
              <a:alpha val="85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49" name="Shape 37"/>
          <p:cNvSpPr/>
          <p:nvPr/>
        </p:nvSpPr>
        <p:spPr>
          <a:xfrm rot="5400000">
            <a:off x="5916168" y="3749040"/>
            <a:ext cx="91440" cy="73152"/>
          </a:xfrm>
          <a:prstGeom prst="chevron">
            <a:avLst/>
          </a:prstGeom>
          <a:solidFill>
            <a:srgbClr val="FFFFFF">
              <a:alpha val="88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50" name="Shape 38"/>
          <p:cNvSpPr/>
          <p:nvPr/>
        </p:nvSpPr>
        <p:spPr>
          <a:xfrm>
            <a:off x="4672584" y="3840480"/>
            <a:ext cx="2578608" cy="365760"/>
          </a:xfrm>
          <a:prstGeom prst="roundRect">
            <a:avLst>
              <a:gd name="adj" fmla="val 15000"/>
            </a:avLst>
          </a:prstGeom>
          <a:solidFill>
            <a:srgbClr val="102A43">
              <a:alpha val="92000"/>
            </a:srgbClr>
          </a:solidFill>
          <a:ln w="12700">
            <a:solidFill>
              <a:srgbClr val="2F80C3">
                <a:alpha val="55000"/>
              </a:srgbClr>
            </a:solidFill>
            <a:prstDash val="solid"/>
          </a:ln>
          <a:effectLst>
            <a:outerShdw blurRad="19050" dist="571500" dir="2700000" algn="bl" rotWithShape="0">
              <a:srgbClr val="000000">
                <a:alpha val="12000"/>
              </a:srgbClr>
            </a:outerShdw>
          </a:effectLst>
        </p:spPr>
        <p:txBody>
          <a:bodyPr/>
          <a:lstStyle/>
          <a:p>
            <a:endParaRPr lang="en-NZ"/>
          </a:p>
        </p:txBody>
      </p:sp>
      <p:sp>
        <p:nvSpPr>
          <p:cNvPr id="51" name="Text 39"/>
          <p:cNvSpPr/>
          <p:nvPr/>
        </p:nvSpPr>
        <p:spPr>
          <a:xfrm>
            <a:off x="4672584" y="3886200"/>
            <a:ext cx="2578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Policy / risk check</a:t>
            </a:r>
            <a:endParaRPr lang="en-US" sz="1200" dirty="0"/>
          </a:p>
        </p:txBody>
      </p:sp>
      <p:sp>
        <p:nvSpPr>
          <p:cNvPr id="52" name="Shape 40"/>
          <p:cNvSpPr/>
          <p:nvPr/>
        </p:nvSpPr>
        <p:spPr>
          <a:xfrm>
            <a:off x="5950915" y="4206240"/>
            <a:ext cx="21946" cy="246888"/>
          </a:xfrm>
          <a:prstGeom prst="rect">
            <a:avLst/>
          </a:prstGeom>
          <a:solidFill>
            <a:srgbClr val="FFFFFF">
              <a:alpha val="85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53" name="Shape 41"/>
          <p:cNvSpPr/>
          <p:nvPr/>
        </p:nvSpPr>
        <p:spPr>
          <a:xfrm rot="5400000">
            <a:off x="5916168" y="4416552"/>
            <a:ext cx="91440" cy="73152"/>
          </a:xfrm>
          <a:prstGeom prst="chevron">
            <a:avLst/>
          </a:prstGeom>
          <a:solidFill>
            <a:srgbClr val="FFFFFF">
              <a:alpha val="88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54" name="Shape 42"/>
          <p:cNvSpPr/>
          <p:nvPr/>
        </p:nvSpPr>
        <p:spPr>
          <a:xfrm>
            <a:off x="4672584" y="4507992"/>
            <a:ext cx="2578608" cy="365760"/>
          </a:xfrm>
          <a:prstGeom prst="roundRect">
            <a:avLst>
              <a:gd name="adj" fmla="val 15000"/>
            </a:avLst>
          </a:prstGeom>
          <a:solidFill>
            <a:srgbClr val="102A43">
              <a:alpha val="92000"/>
            </a:srgbClr>
          </a:solidFill>
          <a:ln w="12700">
            <a:solidFill>
              <a:srgbClr val="2F80C3">
                <a:alpha val="55000"/>
              </a:srgbClr>
            </a:solidFill>
            <a:prstDash val="solid"/>
          </a:ln>
          <a:effectLst>
            <a:outerShdw blurRad="19050" dist="571500" dir="2700000" algn="bl" rotWithShape="0">
              <a:srgbClr val="000000">
                <a:alpha val="12000"/>
              </a:srgbClr>
            </a:outerShdw>
          </a:effectLst>
        </p:spPr>
        <p:txBody>
          <a:bodyPr/>
          <a:lstStyle/>
          <a:p>
            <a:endParaRPr lang="en-NZ"/>
          </a:p>
        </p:txBody>
      </p:sp>
      <p:sp>
        <p:nvSpPr>
          <p:cNvPr id="55" name="Text 43"/>
          <p:cNvSpPr/>
          <p:nvPr/>
        </p:nvSpPr>
        <p:spPr>
          <a:xfrm>
            <a:off x="4672584" y="4553712"/>
            <a:ext cx="2578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Human approval</a:t>
            </a:r>
            <a:endParaRPr lang="en-US" sz="1200" dirty="0"/>
          </a:p>
        </p:txBody>
      </p:sp>
      <p:sp>
        <p:nvSpPr>
          <p:cNvPr id="56" name="Shape 44"/>
          <p:cNvSpPr/>
          <p:nvPr/>
        </p:nvSpPr>
        <p:spPr>
          <a:xfrm>
            <a:off x="5950915" y="4873752"/>
            <a:ext cx="21946" cy="246888"/>
          </a:xfrm>
          <a:prstGeom prst="rect">
            <a:avLst/>
          </a:prstGeom>
          <a:solidFill>
            <a:srgbClr val="FFFFFF">
              <a:alpha val="85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57" name="Shape 45"/>
          <p:cNvSpPr/>
          <p:nvPr/>
        </p:nvSpPr>
        <p:spPr>
          <a:xfrm rot="5400000">
            <a:off x="5916168" y="5084064"/>
            <a:ext cx="91440" cy="73152"/>
          </a:xfrm>
          <a:prstGeom prst="chevron">
            <a:avLst/>
          </a:prstGeom>
          <a:solidFill>
            <a:srgbClr val="FFFFFF">
              <a:alpha val="88000"/>
            </a:srgbClr>
          </a:solidFill>
          <a:ln/>
        </p:spPr>
        <p:txBody>
          <a:bodyPr/>
          <a:lstStyle/>
          <a:p>
            <a:endParaRPr lang="en-NZ"/>
          </a:p>
        </p:txBody>
      </p:sp>
      <p:sp>
        <p:nvSpPr>
          <p:cNvPr id="58" name="Shape 46"/>
          <p:cNvSpPr/>
          <p:nvPr/>
        </p:nvSpPr>
        <p:spPr>
          <a:xfrm>
            <a:off x="4672584" y="5175504"/>
            <a:ext cx="2578608" cy="365760"/>
          </a:xfrm>
          <a:prstGeom prst="roundRect">
            <a:avLst>
              <a:gd name="adj" fmla="val 15000"/>
            </a:avLst>
          </a:prstGeom>
          <a:solidFill>
            <a:srgbClr val="102A43">
              <a:alpha val="92000"/>
            </a:srgbClr>
          </a:solidFill>
          <a:ln w="12700">
            <a:solidFill>
              <a:srgbClr val="2F80C3">
                <a:alpha val="55000"/>
              </a:srgbClr>
            </a:solidFill>
            <a:prstDash val="solid"/>
          </a:ln>
          <a:effectLst>
            <a:outerShdw blurRad="19050" dist="571500" dir="2700000" algn="bl" rotWithShape="0">
              <a:srgbClr val="000000">
                <a:alpha val="12000"/>
              </a:srgbClr>
            </a:outerShdw>
          </a:effectLst>
        </p:spPr>
        <p:txBody>
          <a:bodyPr/>
          <a:lstStyle/>
          <a:p>
            <a:endParaRPr lang="en-NZ"/>
          </a:p>
        </p:txBody>
      </p:sp>
      <p:sp>
        <p:nvSpPr>
          <p:cNvPr id="59" name="Text 47"/>
          <p:cNvSpPr/>
          <p:nvPr/>
        </p:nvSpPr>
        <p:spPr>
          <a:xfrm>
            <a:off x="4672584" y="5221224"/>
            <a:ext cx="2578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Execute + learn</a:t>
            </a:r>
            <a:endParaRPr lang="en-US" sz="1200" dirty="0"/>
          </a:p>
        </p:txBody>
      </p:sp>
      <p:sp>
        <p:nvSpPr>
          <p:cNvPr id="60" name="Text 48"/>
          <p:cNvSpPr/>
          <p:nvPr/>
        </p:nvSpPr>
        <p:spPr>
          <a:xfrm>
            <a:off x="4325112" y="5559552"/>
            <a:ext cx="3255264" cy="16459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860" i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Then scale into workflow and operating model</a:t>
            </a:r>
            <a:endParaRPr lang="en-US" sz="860" dirty="0"/>
          </a:p>
        </p:txBody>
      </p:sp>
      <p:sp>
        <p:nvSpPr>
          <p:cNvPr id="61" name="Text 49"/>
          <p:cNvSpPr/>
          <p:nvPr/>
        </p:nvSpPr>
        <p:spPr>
          <a:xfrm>
            <a:off x="7982712" y="1591056"/>
            <a:ext cx="3264408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68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What to change now</a:t>
            </a:r>
            <a:endParaRPr lang="en-US" sz="1680" dirty="0"/>
          </a:p>
        </p:txBody>
      </p:sp>
      <p:sp>
        <p:nvSpPr>
          <p:cNvPr id="62" name="Text 50"/>
          <p:cNvSpPr/>
          <p:nvPr/>
        </p:nvSpPr>
        <p:spPr>
          <a:xfrm>
            <a:off x="7982712" y="2103120"/>
            <a:ext cx="3264408" cy="1481328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07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• get every category / sourcing role using AI weekly</a:t>
            </a:r>
            <a:endParaRPr lang="en-US" sz="1070" dirty="0"/>
          </a:p>
          <a:p>
            <a:pPr marL="0" indent="0">
              <a:buNone/>
            </a:pPr>
            <a:r>
              <a:rPr lang="en-US" sz="107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• redesign workflows before automating them</a:t>
            </a:r>
            <a:endParaRPr lang="en-US" sz="1070" dirty="0"/>
          </a:p>
          <a:p>
            <a:pPr marL="0" indent="0">
              <a:buNone/>
            </a:pPr>
            <a:r>
              <a:rPr lang="en-US" sz="107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• clean data, policies and permissions</a:t>
            </a:r>
            <a:endParaRPr lang="en-US" sz="1070" dirty="0"/>
          </a:p>
          <a:p>
            <a:pPr marL="0" indent="0">
              <a:buNone/>
            </a:pPr>
            <a:r>
              <a:rPr lang="en-US" sz="1070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• train judgment, supplier engagement and exceptions</a:t>
            </a:r>
            <a:endParaRPr lang="en-US" sz="1070" dirty="0"/>
          </a:p>
        </p:txBody>
      </p:sp>
      <p:sp>
        <p:nvSpPr>
          <p:cNvPr id="63" name="Text 51"/>
          <p:cNvSpPr/>
          <p:nvPr/>
        </p:nvSpPr>
        <p:spPr>
          <a:xfrm>
            <a:off x="7982712" y="3822192"/>
            <a:ext cx="3264408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105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This is how “AI for me” becomes “AI runs part of</a:t>
            </a:r>
            <a:endParaRPr lang="en-US" sz="1050" dirty="0"/>
          </a:p>
          <a:p>
            <a:pPr marL="0" indent="0">
              <a:buNone/>
            </a:pPr>
            <a:r>
              <a:rPr lang="en-US" sz="1050" b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the work”.</a:t>
            </a:r>
            <a:endParaRPr lang="en-US" sz="1050" dirty="0"/>
          </a:p>
        </p:txBody>
      </p:sp>
      <p:sp>
        <p:nvSpPr>
          <p:cNvPr id="64" name="Text 52"/>
          <p:cNvSpPr/>
          <p:nvPr/>
        </p:nvSpPr>
        <p:spPr>
          <a:xfrm>
            <a:off x="7982712" y="5559552"/>
            <a:ext cx="3264408" cy="164592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normAutofit/>
          </a:bodyPr>
          <a:lstStyle/>
          <a:p>
            <a:pPr marL="0" indent="0">
              <a:buNone/>
            </a:pPr>
            <a:r>
              <a:rPr lang="en-US" sz="860" i="1" dirty="0">
                <a:solidFill>
                  <a:srgbClr val="FFFFFF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Adoption sticks when people experience value themselves first</a:t>
            </a:r>
            <a:endParaRPr lang="en-US" sz="860" dirty="0"/>
          </a:p>
        </p:txBody>
      </p:sp>
      <p:sp>
        <p:nvSpPr>
          <p:cNvPr id="65" name="Shape 53"/>
          <p:cNvSpPr/>
          <p:nvPr/>
        </p:nvSpPr>
        <p:spPr>
          <a:xfrm>
            <a:off x="502920" y="6070122"/>
            <a:ext cx="10908792" cy="365760"/>
          </a:xfrm>
          <a:prstGeom prst="rect">
            <a:avLst/>
          </a:prstGeom>
          <a:solidFill>
            <a:srgbClr val="DCE6F2"/>
          </a:solidFill>
          <a:ln w="12700">
            <a:solidFill>
              <a:srgbClr val="DCE6F2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66" name="Shape 54"/>
          <p:cNvSpPr/>
          <p:nvPr/>
        </p:nvSpPr>
        <p:spPr>
          <a:xfrm>
            <a:off x="502920" y="6070122"/>
            <a:ext cx="88545" cy="365760"/>
          </a:xfrm>
          <a:prstGeom prst="rect">
            <a:avLst/>
          </a:prstGeom>
          <a:solidFill>
            <a:srgbClr val="F0A014"/>
          </a:solidFill>
          <a:ln w="12700">
            <a:solidFill>
              <a:srgbClr val="F0A014"/>
            </a:solidFill>
            <a:prstDash val="solid"/>
          </a:ln>
        </p:spPr>
        <p:txBody>
          <a:bodyPr/>
          <a:lstStyle/>
          <a:p>
            <a:endParaRPr lang="en-NZ"/>
          </a:p>
        </p:txBody>
      </p:sp>
      <p:sp>
        <p:nvSpPr>
          <p:cNvPr id="67" name="Text 55"/>
          <p:cNvSpPr/>
          <p:nvPr/>
        </p:nvSpPr>
        <p:spPr>
          <a:xfrm>
            <a:off x="667512" y="6106698"/>
            <a:ext cx="10448356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223A59"/>
                </a:solidFill>
                <a:latin typeface="Aptos" pitchFamily="34" charset="0"/>
                <a:ea typeface="Aptos" pitchFamily="34" charset="-122"/>
                <a:cs typeface="Aptos" pitchFamily="34" charset="-120"/>
              </a:rPr>
              <a:t>First: AI for me. Then: AI runs part or all of the workflow.</a:t>
            </a:r>
            <a:endParaRPr lang="en-US" sz="16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7528322-FB44-596F-7353-05FDF22B9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0772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528322-FB44-596F-7353-05FDF22B9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AI Solutions Implementation | LeverX">
            <a:extLst>
              <a:ext uri="{FF2B5EF4-FFF2-40B4-BE49-F238E27FC236}">
                <a16:creationId xmlns:a16="http://schemas.microsoft.com/office/drawing/2014/main" id="{4747982B-2159-2C25-ADD4-46D8E69E09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40500"/>
            <a:ext cx="12192000" cy="591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E04297A-4732-9AB9-2B45-68F759DB5026}"/>
              </a:ext>
            </a:extLst>
          </p:cNvPr>
          <p:cNvSpPr/>
          <p:nvPr/>
        </p:nvSpPr>
        <p:spPr>
          <a:xfrm>
            <a:off x="0" y="932816"/>
            <a:ext cx="12192000" cy="5917500"/>
          </a:xfrm>
          <a:prstGeom prst="roundRect">
            <a:avLst>
              <a:gd name="adj" fmla="val 0"/>
            </a:avLst>
          </a:prstGeom>
          <a:solidFill>
            <a:srgbClr val="263140">
              <a:alpha val="63000"/>
            </a:srgbClr>
          </a:solidFill>
          <a:ln w="6350">
            <a:solidFill>
              <a:srgbClr val="A1B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2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A70B6E-68F8-F7C2-B523-7376A1791D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9137" y="1718976"/>
            <a:ext cx="7794538" cy="2000408"/>
          </a:xfrm>
        </p:spPr>
        <p:txBody>
          <a:bodyPr vert="horz">
            <a:normAutofit/>
          </a:bodyPr>
          <a:lstStyle/>
          <a:p>
            <a:r>
              <a:rPr lang="en-GB" sz="4400" dirty="0">
                <a:solidFill>
                  <a:schemeClr val="bg1"/>
                </a:solidFill>
                <a:latin typeface="Rale Grotesk" charset="0"/>
                <a:ea typeface="+mj-ea"/>
                <a:cs typeface="+mj-cs"/>
              </a:rPr>
              <a:t>02. AI solutions as the new enabler for Procurement Sustainability</a:t>
            </a:r>
            <a:endParaRPr lang="en-US" sz="4400" dirty="0">
              <a:solidFill>
                <a:schemeClr val="bg1"/>
              </a:solidFill>
              <a:latin typeface="Rale Grotesk" charset="0"/>
              <a:ea typeface="+mj-ea"/>
              <a:cs typeface="+mj-cs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F99FBE9-7841-DD17-3CF7-A1EB64CD65A0}"/>
              </a:ext>
            </a:extLst>
          </p:cNvPr>
          <p:cNvSpPr>
            <a:spLocks noGrp="1"/>
          </p:cNvSpPr>
          <p:nvPr/>
        </p:nvSpPr>
        <p:spPr>
          <a:xfrm>
            <a:off x="484101" y="5768546"/>
            <a:ext cx="5514975" cy="60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Rale Body" pitchFamily="2" charset="0"/>
              <a:buNone/>
              <a:defRPr sz="1800" kern="1200">
                <a:solidFill>
                  <a:srgbClr val="F2FFF3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Rale Body" panose="020B0604020202020204" charset="0"/>
              <a:buChar char="•"/>
              <a:defRPr sz="1800" kern="1200">
                <a:solidFill>
                  <a:srgbClr val="F2FFF3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Rale Body" panose="020B0604020202020204" charset="0"/>
              <a:buChar char="•"/>
              <a:defRPr sz="1800" kern="1200">
                <a:solidFill>
                  <a:srgbClr val="F2FFF3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Rale Body" panose="020B0604020202020204" charset="0"/>
              <a:buChar char="•"/>
              <a:defRPr sz="1800" b="0" kern="1200">
                <a:solidFill>
                  <a:srgbClr val="F2FFF3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Rale Body" panose="020B0604020202020204" charset="0"/>
              <a:buChar char="•"/>
              <a:tabLst/>
              <a:defRPr sz="1800" kern="1200">
                <a:solidFill>
                  <a:srgbClr val="F2FFF3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Rale Body" panose="020B0604020202020204" charset="0"/>
              <a:buChar char="•"/>
              <a:defRPr sz="16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Rale Body" panose="020B0604020202020204" charset="0"/>
              <a:buChar char="•"/>
              <a:defRPr sz="16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Rale Body" panose="020B0604020202020204" charset="0"/>
              <a:buChar char="•"/>
              <a:defRPr sz="16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Rale Body" panose="020B0604020202020204" charset="0"/>
              <a:buChar char="•"/>
              <a:defRPr sz="16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Vinitha Mathew</a:t>
            </a:r>
          </a:p>
        </p:txBody>
      </p:sp>
    </p:spTree>
    <p:extLst>
      <p:ext uri="{BB962C8B-B14F-4D97-AF65-F5344CB8AC3E}">
        <p14:creationId xmlns:p14="http://schemas.microsoft.com/office/powerpoint/2010/main" val="2955869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Novonesis Blue template">
  <a:themeElements>
    <a:clrScheme name="Custom 47">
      <a:dk1>
        <a:srgbClr val="000000"/>
      </a:dk1>
      <a:lt1>
        <a:srgbClr val="FFFFFF"/>
      </a:lt1>
      <a:dk2>
        <a:srgbClr val="173630"/>
      </a:dk2>
      <a:lt2>
        <a:srgbClr val="BFE6C4"/>
      </a:lt2>
      <a:accent1>
        <a:srgbClr val="173630"/>
      </a:accent1>
      <a:accent2>
        <a:srgbClr val="BFE6C4"/>
      </a:accent2>
      <a:accent3>
        <a:srgbClr val="A1B0FF"/>
      </a:accent3>
      <a:accent4>
        <a:srgbClr val="DEE3FF"/>
      </a:accent4>
      <a:accent5>
        <a:srgbClr val="AAAAAA"/>
      </a:accent5>
      <a:accent6>
        <a:srgbClr val="DADADA"/>
      </a:accent6>
      <a:hlink>
        <a:srgbClr val="467886"/>
      </a:hlink>
      <a:folHlink>
        <a:srgbClr val="96607D"/>
      </a:folHlink>
    </a:clrScheme>
    <a:fontScheme name="NOVONESIS2024">
      <a:majorFont>
        <a:latin typeface="Rale Grotesk"/>
        <a:ea typeface=""/>
        <a:cs typeface=""/>
      </a:majorFont>
      <a:minorFont>
        <a:latin typeface="Rale Bod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tIns="36000" rIns="72000" bIns="36000" rtlCol="0" anchor="ctr"/>
      <a:lstStyle>
        <a:defPPr algn="ctr">
          <a:defRPr sz="16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accent5"/>
          </a:solidFill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90000"/>
          </a:lnSpc>
          <a:defRPr sz="1600" dirty="0" err="1" smtClean="0"/>
        </a:defPPr>
      </a:lstStyle>
    </a:txDef>
  </a:objectDefaults>
  <a:extraClrSchemeLst/>
  <a:custClrLst>
    <a:custClr name="Moss">
      <a:srgbClr val="173630"/>
    </a:custClr>
    <a:custClr name="Juniper">
      <a:srgbClr val="263140"/>
    </a:custClr>
    <a:custClr name="Earth">
      <a:srgbClr val="3A2828"/>
    </a:custClr>
    <a:custClr name="Wheat">
      <a:srgbClr val="7A600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Algae">
      <a:srgbClr val="BFE6C4"/>
    </a:custClr>
    <a:custClr name="Aster">
      <a:srgbClr val="A1B0FF"/>
    </a:custClr>
    <a:custClr name="Clay">
      <a:srgbClr val="D47969"/>
    </a:custClr>
    <a:custClr name="Maize">
      <a:srgbClr val="FFF4A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Fern">
      <a:srgbClr val="F2FFF3"/>
    </a:custClr>
    <a:custClr name="Lilac">
      <a:srgbClr val="EFF1FF"/>
    </a:custClr>
    <a:custClr name="Sand">
      <a:srgbClr val="FFF3F3"/>
    </a:custClr>
    <a:custClr name="Rye">
      <a:srgbClr val="FFFCE8"/>
    </a:custClr>
  </a:custClrLst>
  <a:extLst>
    <a:ext uri="{05A4C25C-085E-4340-85A3-A5531E510DB2}">
      <thm15:themeFamily xmlns:thm15="http://schemas.microsoft.com/office/thememl/2012/main" name="Novonesis_template_examples" id="{B4BDD3E0-6496-4373-818F-25537E0566CE}" vid="{E0AB82A1-0B26-48CA-A472-09111FCB7F2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8f1c973-6d72-4d82-934b-a47579030d87" xsi:nil="true"/>
    <lcf76f155ced4ddcb4097134ff3c332f xmlns="73178e52-8e41-4e71-9fbd-2d2179350cc3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F1F02AFFA8F945B42432E9D33E24BE" ma:contentTypeVersion="16" ma:contentTypeDescription="Create a new document." ma:contentTypeScope="" ma:versionID="926bc2c51c6c87b44a2a1f5c23e7efa8">
  <xsd:schema xmlns:xsd="http://www.w3.org/2001/XMLSchema" xmlns:xs="http://www.w3.org/2001/XMLSchema" xmlns:p="http://schemas.microsoft.com/office/2006/metadata/properties" xmlns:ns2="73178e52-8e41-4e71-9fbd-2d2179350cc3" xmlns:ns3="98f1c973-6d72-4d82-934b-a47579030d87" targetNamespace="http://schemas.microsoft.com/office/2006/metadata/properties" ma:root="true" ma:fieldsID="79e57a9f5a3e4229b5a8aabfecd8285c" ns2:_="" ns3:_="">
    <xsd:import namespace="73178e52-8e41-4e71-9fbd-2d2179350cc3"/>
    <xsd:import namespace="98f1c973-6d72-4d82-934b-a47579030d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178e52-8e41-4e71-9fbd-2d2179350c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68d2dea5-f88b-4fa4-9ce5-7bb379ceb23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f1c973-6d72-4d82-934b-a47579030d87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bb55b7cb-afa9-4766-8252-0fe1ff0f42fa}" ma:internalName="TaxCatchAll" ma:showField="CatchAllData" ma:web="98f1c973-6d72-4d82-934b-a47579030d8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356F09-92F2-4DAD-B09E-D015551411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52CA305-81D3-4961-80CC-A5B5B00AAA27}">
  <ds:schemaRefs>
    <ds:schemaRef ds:uri="73178e52-8e41-4e71-9fbd-2d2179350cc3"/>
    <ds:schemaRef ds:uri="98f1c973-6d72-4d82-934b-a47579030d8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9E02123-7BCF-42AF-B3D2-FBCC6D3929CD}">
  <ds:schemaRefs>
    <ds:schemaRef ds:uri="73178e52-8e41-4e71-9fbd-2d2179350cc3"/>
    <ds:schemaRef ds:uri="98f1c973-6d72-4d82-934b-a47579030d8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1ab8c0df-c8b2-4a64-a121-e08e1a3847b8}" enabled="0" method="" siteId="{1ab8c0df-c8b2-4a64-a121-e08e1a3847b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3415</TotalTime>
  <Words>1926</Words>
  <Application>Microsoft Office PowerPoint</Application>
  <PresentationFormat>Widescreen</PresentationFormat>
  <Paragraphs>345</Paragraphs>
  <Slides>25</Slides>
  <Notes>10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Aptos</vt:lpstr>
      <vt:lpstr>Aptos Display</vt:lpstr>
      <vt:lpstr>Arial</vt:lpstr>
      <vt:lpstr>Calibri</vt:lpstr>
      <vt:lpstr>Helvetica</vt:lpstr>
      <vt:lpstr>Open Sans</vt:lpstr>
      <vt:lpstr>Rale Body</vt:lpstr>
      <vt:lpstr>Rale Grotesk</vt:lpstr>
      <vt:lpstr>Wingdings</vt:lpstr>
      <vt:lpstr>Office Theme</vt:lpstr>
      <vt:lpstr>Novonesis Blue template</vt:lpstr>
      <vt:lpstr>think-cell Slide</vt:lpstr>
      <vt:lpstr>AI in Procurement: Upskilling People and Capabilities</vt:lpstr>
      <vt:lpstr>PowerPoint Presentation</vt:lpstr>
      <vt:lpstr>PowerPoint Presentation</vt:lpstr>
      <vt:lpstr>YOUR SPEAKERS</vt:lpstr>
      <vt:lpstr>Agenda</vt:lpstr>
      <vt:lpstr>PowerPoint Presentation</vt:lpstr>
      <vt:lpstr>PowerPoint Presentation</vt:lpstr>
      <vt:lpstr>PowerPoint Presentation</vt:lpstr>
      <vt:lpstr>02. AI solutions as the new enabler for Procurement Sustainability</vt:lpstr>
      <vt:lpstr>Why AI matters in Procurement Sustainability</vt:lpstr>
      <vt:lpstr>PowerPoint Presentation</vt:lpstr>
      <vt:lpstr>Significantly reduce the workload of both companies and suppliers while increasing intelligence</vt:lpstr>
      <vt:lpstr>PowerPoint Presentation</vt:lpstr>
      <vt:lpstr>PowerPoint Presentation</vt:lpstr>
      <vt:lpstr>PowerPoint Presentation</vt:lpstr>
      <vt:lpstr>Upskilling of People and Capabilities in the wake of AI</vt:lpstr>
      <vt:lpstr>Digital Transformation – Back to Basics</vt:lpstr>
      <vt:lpstr>Program Governance Framework</vt:lpstr>
      <vt:lpstr>Stakeholder Map</vt:lpstr>
      <vt:lpstr>RSI Matrix – Supplement to Stakeholder Map</vt:lpstr>
      <vt:lpstr>Program Roadmap – Core of the PGF</vt:lpstr>
      <vt:lpstr>Program Roadmap – Adapted for AI</vt:lpstr>
      <vt:lpstr>Caveat for AI adoption - Moderation</vt:lpstr>
      <vt:lpstr>YOUR SPEAKER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athrin Decker</dc:creator>
  <cp:lastModifiedBy>CK Lin</cp:lastModifiedBy>
  <cp:revision>7</cp:revision>
  <dcterms:created xsi:type="dcterms:W3CDTF">2025-01-22T07:25:36Z</dcterms:created>
  <dcterms:modified xsi:type="dcterms:W3CDTF">2026-03-25T15:2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F1F02AFFA8F945B42432E9D33E24BE</vt:lpwstr>
  </property>
  <property fmtid="{D5CDD505-2E9C-101B-9397-08002B2CF9AE}" pid="3" name="MediaServiceImageTags">
    <vt:lpwstr/>
  </property>
</Properties>
</file>